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495" r:id="rId2"/>
    <p:sldId id="2147473390" r:id="rId3"/>
    <p:sldId id="2147473414" r:id="rId4"/>
    <p:sldId id="2147473387" r:id="rId5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71910F5-2C13-9182-6B17-ABADA29546D4}" name="Donia PEERHOSSAINI" initials="DP" userId="S::dpeerhossaini@eurelectric.org::25a96ee5-b23b-4590-a0df-0629af8a5aa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E2E5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757"/>
    <p:restoredTop sz="94597"/>
  </p:normalViewPr>
  <p:slideViewPr>
    <p:cSldViewPr snapToGrid="0">
      <p:cViewPr varScale="1">
        <p:scale>
          <a:sx n="102" d="100"/>
          <a:sy n="102" d="100"/>
        </p:scale>
        <p:origin x="200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microsoft.com/office/2018/10/relationships/authors" Target="authors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D128E80-BBEF-5642-947F-4E630B7DC6D2}" type="doc">
      <dgm:prSet loTypeId="urn:microsoft.com/office/officeart/2005/8/layout/orgChart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A4CBD9AB-026D-7D4C-B870-440EDE005714}">
      <dgm:prSet phldrT="[Text]" custT="1"/>
      <dgm:spPr>
        <a:solidFill>
          <a:srgbClr val="7030A0">
            <a:alpha val="83137"/>
          </a:srgbClr>
        </a:solidFill>
      </dgm:spPr>
      <dgm:t>
        <a:bodyPr/>
        <a:lstStyle/>
        <a:p>
          <a:r>
            <a:rPr lang="en-GB" sz="2800" dirty="0"/>
            <a:t>One single FB auction </a:t>
          </a:r>
          <a:br>
            <a:rPr lang="en-GB" sz="2800" dirty="0"/>
          </a:br>
          <a:r>
            <a:rPr lang="en-GB" sz="2800" dirty="0"/>
            <a:t>for all borders of a CCR  </a:t>
          </a:r>
        </a:p>
      </dgm:t>
    </dgm:pt>
    <dgm:pt modelId="{E9AAA3C2-30F4-754F-9BF2-FF1AA558885C}" type="parTrans" cxnId="{BE93AB44-88BD-6A47-B576-3A3CCF0D50F6}">
      <dgm:prSet/>
      <dgm:spPr/>
      <dgm:t>
        <a:bodyPr/>
        <a:lstStyle/>
        <a:p>
          <a:endParaRPr lang="en-GB" sz="1400"/>
        </a:p>
      </dgm:t>
    </dgm:pt>
    <dgm:pt modelId="{40859749-B4DF-1C42-939D-1794F64E7CF4}" type="sibTrans" cxnId="{BE93AB44-88BD-6A47-B576-3A3CCF0D50F6}">
      <dgm:prSet/>
      <dgm:spPr/>
      <dgm:t>
        <a:bodyPr/>
        <a:lstStyle/>
        <a:p>
          <a:endParaRPr lang="en-GB" sz="1400"/>
        </a:p>
      </dgm:t>
    </dgm:pt>
    <dgm:pt modelId="{066F1BBB-1639-9A4E-99A8-AC18D6652728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2400" b="1" dirty="0"/>
            <a:t>Fair access for all</a:t>
          </a:r>
          <a:r>
            <a:rPr lang="en-GB" sz="2400" dirty="0"/>
            <a:t>: borders compete between themselves for capacity / low or no capacity at some borders</a:t>
          </a:r>
        </a:p>
      </dgm:t>
    </dgm:pt>
    <dgm:pt modelId="{30531AA3-8C55-8D4B-94F8-5F410E711644}" type="parTrans" cxnId="{826397E4-C4CC-7841-8FCB-B9174A8544F7}">
      <dgm:prSet/>
      <dgm:spPr/>
      <dgm:t>
        <a:bodyPr/>
        <a:lstStyle/>
        <a:p>
          <a:endParaRPr lang="en-GB" sz="1400"/>
        </a:p>
      </dgm:t>
    </dgm:pt>
    <dgm:pt modelId="{8A9799D4-A40B-0845-B5DE-62B25E3A8102}" type="sibTrans" cxnId="{826397E4-C4CC-7841-8FCB-B9174A8544F7}">
      <dgm:prSet/>
      <dgm:spPr/>
      <dgm:t>
        <a:bodyPr/>
        <a:lstStyle/>
        <a:p>
          <a:endParaRPr lang="en-GB" sz="1400"/>
        </a:p>
      </dgm:t>
    </dgm:pt>
    <dgm:pt modelId="{E18F5357-8BB2-5543-96C4-751B1B96D609}">
      <dgm:prSet phldrT="[Text]" custT="1"/>
      <dgm:spPr>
        <a:solidFill>
          <a:srgbClr val="0070C0"/>
        </a:solidFill>
      </dgm:spPr>
      <dgm:t>
        <a:bodyPr/>
        <a:lstStyle/>
        <a:p>
          <a:r>
            <a:rPr lang="en-GB" sz="2400" b="1" dirty="0"/>
            <a:t>Best use of capacity</a:t>
          </a:r>
          <a:r>
            <a:rPr lang="en-GB" sz="2400" dirty="0"/>
            <a:t>: very high collateral requirements reduce bidding capacity in simultaneous auction at all borders</a:t>
          </a:r>
        </a:p>
      </dgm:t>
    </dgm:pt>
    <dgm:pt modelId="{B8ED8B18-7C19-814C-8999-AE4F0CC94D44}" type="parTrans" cxnId="{E3B24843-BAC8-5F42-AD4E-B53F5136302A}">
      <dgm:prSet/>
      <dgm:spPr/>
      <dgm:t>
        <a:bodyPr/>
        <a:lstStyle/>
        <a:p>
          <a:endParaRPr lang="en-GB" sz="1400"/>
        </a:p>
      </dgm:t>
    </dgm:pt>
    <dgm:pt modelId="{767193F6-EC4E-C640-A811-3F2D425F3C3B}" type="sibTrans" cxnId="{E3B24843-BAC8-5F42-AD4E-B53F5136302A}">
      <dgm:prSet/>
      <dgm:spPr/>
      <dgm:t>
        <a:bodyPr/>
        <a:lstStyle/>
        <a:p>
          <a:endParaRPr lang="en-GB" sz="1400"/>
        </a:p>
      </dgm:t>
    </dgm:pt>
    <dgm:pt modelId="{A935CC3E-BDDC-CE4E-8239-E2194E75D3E9}" type="pres">
      <dgm:prSet presAssocID="{5D128E80-BBEF-5642-947F-4E630B7DC6D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2A59989-797B-E146-904B-9FDDF6190196}" type="pres">
      <dgm:prSet presAssocID="{A4CBD9AB-026D-7D4C-B870-440EDE005714}" presName="hierRoot1" presStyleCnt="0">
        <dgm:presLayoutVars>
          <dgm:hierBranch val="init"/>
        </dgm:presLayoutVars>
      </dgm:prSet>
      <dgm:spPr/>
    </dgm:pt>
    <dgm:pt modelId="{1E62A4CE-5CAE-2347-BBBA-ED39B7D56BF3}" type="pres">
      <dgm:prSet presAssocID="{A4CBD9AB-026D-7D4C-B870-440EDE005714}" presName="rootComposite1" presStyleCnt="0"/>
      <dgm:spPr/>
    </dgm:pt>
    <dgm:pt modelId="{6B661FF3-2CBF-FF4B-A730-D830963C9992}" type="pres">
      <dgm:prSet presAssocID="{A4CBD9AB-026D-7D4C-B870-440EDE005714}" presName="rootText1" presStyleLbl="node0" presStyleIdx="0" presStyleCnt="1" custScaleX="106157" custScaleY="59668" custLinFactNeighborY="2264">
        <dgm:presLayoutVars>
          <dgm:chPref val="3"/>
        </dgm:presLayoutVars>
      </dgm:prSet>
      <dgm:spPr/>
    </dgm:pt>
    <dgm:pt modelId="{6D401655-C88A-4E41-AB98-4B8953829A6B}" type="pres">
      <dgm:prSet presAssocID="{A4CBD9AB-026D-7D4C-B870-440EDE005714}" presName="rootConnector1" presStyleLbl="node1" presStyleIdx="0" presStyleCnt="0"/>
      <dgm:spPr/>
    </dgm:pt>
    <dgm:pt modelId="{8CB34C92-BFC3-C644-B1C7-38712F65D287}" type="pres">
      <dgm:prSet presAssocID="{A4CBD9AB-026D-7D4C-B870-440EDE005714}" presName="hierChild2" presStyleCnt="0"/>
      <dgm:spPr/>
    </dgm:pt>
    <dgm:pt modelId="{F2F9CDEA-17C4-6B49-A73F-BA7FD057FE60}" type="pres">
      <dgm:prSet presAssocID="{30531AA3-8C55-8D4B-94F8-5F410E711644}" presName="Name37" presStyleLbl="parChTrans1D2" presStyleIdx="0" presStyleCnt="2"/>
      <dgm:spPr/>
    </dgm:pt>
    <dgm:pt modelId="{2E9ABCC0-F862-9B41-B659-A7CAB165569B}" type="pres">
      <dgm:prSet presAssocID="{066F1BBB-1639-9A4E-99A8-AC18D6652728}" presName="hierRoot2" presStyleCnt="0">
        <dgm:presLayoutVars>
          <dgm:hierBranch val="init"/>
        </dgm:presLayoutVars>
      </dgm:prSet>
      <dgm:spPr/>
    </dgm:pt>
    <dgm:pt modelId="{4C735C5D-8C1E-C045-A9C0-65C6CB8476AE}" type="pres">
      <dgm:prSet presAssocID="{066F1BBB-1639-9A4E-99A8-AC18D6652728}" presName="rootComposite" presStyleCnt="0"/>
      <dgm:spPr/>
    </dgm:pt>
    <dgm:pt modelId="{9BED3EDA-5A01-004A-9D06-721392128D97}" type="pres">
      <dgm:prSet presAssocID="{066F1BBB-1639-9A4E-99A8-AC18D6652728}" presName="rootText" presStyleLbl="node2" presStyleIdx="0" presStyleCnt="2" custScaleX="128597" custScaleY="76026" custLinFactNeighborY="-533">
        <dgm:presLayoutVars>
          <dgm:chPref val="3"/>
        </dgm:presLayoutVars>
      </dgm:prSet>
      <dgm:spPr/>
    </dgm:pt>
    <dgm:pt modelId="{15D481B7-D700-5B48-B739-A0BCBAE87FB1}" type="pres">
      <dgm:prSet presAssocID="{066F1BBB-1639-9A4E-99A8-AC18D6652728}" presName="rootConnector" presStyleLbl="node2" presStyleIdx="0" presStyleCnt="2"/>
      <dgm:spPr/>
    </dgm:pt>
    <dgm:pt modelId="{2ED2C93B-0CB8-B042-B6E4-C113B8B401EB}" type="pres">
      <dgm:prSet presAssocID="{066F1BBB-1639-9A4E-99A8-AC18D6652728}" presName="hierChild4" presStyleCnt="0"/>
      <dgm:spPr/>
    </dgm:pt>
    <dgm:pt modelId="{7ACE3212-874D-4142-B9A8-AD7355C3A0C3}" type="pres">
      <dgm:prSet presAssocID="{066F1BBB-1639-9A4E-99A8-AC18D6652728}" presName="hierChild5" presStyleCnt="0"/>
      <dgm:spPr/>
    </dgm:pt>
    <dgm:pt modelId="{DAF9BC79-5AB3-3449-A2AA-ACD32F68028F}" type="pres">
      <dgm:prSet presAssocID="{B8ED8B18-7C19-814C-8999-AE4F0CC94D44}" presName="Name37" presStyleLbl="parChTrans1D2" presStyleIdx="1" presStyleCnt="2"/>
      <dgm:spPr/>
    </dgm:pt>
    <dgm:pt modelId="{F624A04F-911F-744E-BE78-1AB41A8ED39F}" type="pres">
      <dgm:prSet presAssocID="{E18F5357-8BB2-5543-96C4-751B1B96D609}" presName="hierRoot2" presStyleCnt="0">
        <dgm:presLayoutVars>
          <dgm:hierBranch val="init"/>
        </dgm:presLayoutVars>
      </dgm:prSet>
      <dgm:spPr/>
    </dgm:pt>
    <dgm:pt modelId="{B2BF8786-FDAD-5F45-87CC-C0790C31F6E4}" type="pres">
      <dgm:prSet presAssocID="{E18F5357-8BB2-5543-96C4-751B1B96D609}" presName="rootComposite" presStyleCnt="0"/>
      <dgm:spPr/>
    </dgm:pt>
    <dgm:pt modelId="{2B9E0AC0-7891-E44C-9C30-7BABFC62B842}" type="pres">
      <dgm:prSet presAssocID="{E18F5357-8BB2-5543-96C4-751B1B96D609}" presName="rootText" presStyleLbl="node2" presStyleIdx="1" presStyleCnt="2" custScaleX="128597" custScaleY="76026" custLinFactNeighborY="-533">
        <dgm:presLayoutVars>
          <dgm:chPref val="3"/>
        </dgm:presLayoutVars>
      </dgm:prSet>
      <dgm:spPr/>
    </dgm:pt>
    <dgm:pt modelId="{EF3B99E7-8B18-514F-BC08-2FB7AE4D0F20}" type="pres">
      <dgm:prSet presAssocID="{E18F5357-8BB2-5543-96C4-751B1B96D609}" presName="rootConnector" presStyleLbl="node2" presStyleIdx="1" presStyleCnt="2"/>
      <dgm:spPr/>
    </dgm:pt>
    <dgm:pt modelId="{7C8B92EF-1AFA-0446-BC0A-45267C85B68C}" type="pres">
      <dgm:prSet presAssocID="{E18F5357-8BB2-5543-96C4-751B1B96D609}" presName="hierChild4" presStyleCnt="0"/>
      <dgm:spPr/>
    </dgm:pt>
    <dgm:pt modelId="{27FED3B8-F6AA-C044-843B-CB266249F961}" type="pres">
      <dgm:prSet presAssocID="{E18F5357-8BB2-5543-96C4-751B1B96D609}" presName="hierChild5" presStyleCnt="0"/>
      <dgm:spPr/>
    </dgm:pt>
    <dgm:pt modelId="{FBC251CC-87C6-D24A-8069-8EE62638F343}" type="pres">
      <dgm:prSet presAssocID="{A4CBD9AB-026D-7D4C-B870-440EDE005714}" presName="hierChild3" presStyleCnt="0"/>
      <dgm:spPr/>
    </dgm:pt>
  </dgm:ptLst>
  <dgm:cxnLst>
    <dgm:cxn modelId="{7676D119-1375-0943-B44D-EBDE73C48D17}" type="presOf" srcId="{066F1BBB-1639-9A4E-99A8-AC18D6652728}" destId="{9BED3EDA-5A01-004A-9D06-721392128D97}" srcOrd="0" destOrd="0" presId="urn:microsoft.com/office/officeart/2005/8/layout/orgChart1"/>
    <dgm:cxn modelId="{04193A28-E753-B44B-B441-452C45CC59E1}" type="presOf" srcId="{A4CBD9AB-026D-7D4C-B870-440EDE005714}" destId="{6B661FF3-2CBF-FF4B-A730-D830963C9992}" srcOrd="0" destOrd="0" presId="urn:microsoft.com/office/officeart/2005/8/layout/orgChart1"/>
    <dgm:cxn modelId="{81BDF133-AF16-D949-99FD-A225B2A8CD27}" type="presOf" srcId="{E18F5357-8BB2-5543-96C4-751B1B96D609}" destId="{EF3B99E7-8B18-514F-BC08-2FB7AE4D0F20}" srcOrd="1" destOrd="0" presId="urn:microsoft.com/office/officeart/2005/8/layout/orgChart1"/>
    <dgm:cxn modelId="{E3B24843-BAC8-5F42-AD4E-B53F5136302A}" srcId="{A4CBD9AB-026D-7D4C-B870-440EDE005714}" destId="{E18F5357-8BB2-5543-96C4-751B1B96D609}" srcOrd="1" destOrd="0" parTransId="{B8ED8B18-7C19-814C-8999-AE4F0CC94D44}" sibTransId="{767193F6-EC4E-C640-A811-3F2D425F3C3B}"/>
    <dgm:cxn modelId="{BE93AB44-88BD-6A47-B576-3A3CCF0D50F6}" srcId="{5D128E80-BBEF-5642-947F-4E630B7DC6D2}" destId="{A4CBD9AB-026D-7D4C-B870-440EDE005714}" srcOrd="0" destOrd="0" parTransId="{E9AAA3C2-30F4-754F-9BF2-FF1AA558885C}" sibTransId="{40859749-B4DF-1C42-939D-1794F64E7CF4}"/>
    <dgm:cxn modelId="{AB7E6E5A-2BE6-7942-A63C-A53205B35DA9}" type="presOf" srcId="{30531AA3-8C55-8D4B-94F8-5F410E711644}" destId="{F2F9CDEA-17C4-6B49-A73F-BA7FD057FE60}" srcOrd="0" destOrd="0" presId="urn:microsoft.com/office/officeart/2005/8/layout/orgChart1"/>
    <dgm:cxn modelId="{51C82D70-6D61-F542-BF39-3D75DAACE5F8}" type="presOf" srcId="{5D128E80-BBEF-5642-947F-4E630B7DC6D2}" destId="{A935CC3E-BDDC-CE4E-8239-E2194E75D3E9}" srcOrd="0" destOrd="0" presId="urn:microsoft.com/office/officeart/2005/8/layout/orgChart1"/>
    <dgm:cxn modelId="{E5DD62C3-6F17-9D44-9F0E-5D21B25B7FD1}" type="presOf" srcId="{B8ED8B18-7C19-814C-8999-AE4F0CC94D44}" destId="{DAF9BC79-5AB3-3449-A2AA-ACD32F68028F}" srcOrd="0" destOrd="0" presId="urn:microsoft.com/office/officeart/2005/8/layout/orgChart1"/>
    <dgm:cxn modelId="{29ABF7DF-3FD9-2243-94A8-90E5165AA4E4}" type="presOf" srcId="{066F1BBB-1639-9A4E-99A8-AC18D6652728}" destId="{15D481B7-D700-5B48-B739-A0BCBAE87FB1}" srcOrd="1" destOrd="0" presId="urn:microsoft.com/office/officeart/2005/8/layout/orgChart1"/>
    <dgm:cxn modelId="{015E6CE1-F7FE-2E4D-8530-A51D46E96EA5}" type="presOf" srcId="{A4CBD9AB-026D-7D4C-B870-440EDE005714}" destId="{6D401655-C88A-4E41-AB98-4B8953829A6B}" srcOrd="1" destOrd="0" presId="urn:microsoft.com/office/officeart/2005/8/layout/orgChart1"/>
    <dgm:cxn modelId="{E2D8E6E1-67F8-4744-8D69-C4C5D009B861}" type="presOf" srcId="{E18F5357-8BB2-5543-96C4-751B1B96D609}" destId="{2B9E0AC0-7891-E44C-9C30-7BABFC62B842}" srcOrd="0" destOrd="0" presId="urn:microsoft.com/office/officeart/2005/8/layout/orgChart1"/>
    <dgm:cxn modelId="{826397E4-C4CC-7841-8FCB-B9174A8544F7}" srcId="{A4CBD9AB-026D-7D4C-B870-440EDE005714}" destId="{066F1BBB-1639-9A4E-99A8-AC18D6652728}" srcOrd="0" destOrd="0" parTransId="{30531AA3-8C55-8D4B-94F8-5F410E711644}" sibTransId="{8A9799D4-A40B-0845-B5DE-62B25E3A8102}"/>
    <dgm:cxn modelId="{4416B8A6-A9FE-2D42-9762-79CEEC3C4B94}" type="presParOf" srcId="{A935CC3E-BDDC-CE4E-8239-E2194E75D3E9}" destId="{F2A59989-797B-E146-904B-9FDDF6190196}" srcOrd="0" destOrd="0" presId="urn:microsoft.com/office/officeart/2005/8/layout/orgChart1"/>
    <dgm:cxn modelId="{7016D232-0113-1942-88A1-F50F06963EA3}" type="presParOf" srcId="{F2A59989-797B-E146-904B-9FDDF6190196}" destId="{1E62A4CE-5CAE-2347-BBBA-ED39B7D56BF3}" srcOrd="0" destOrd="0" presId="urn:microsoft.com/office/officeart/2005/8/layout/orgChart1"/>
    <dgm:cxn modelId="{A2CC9537-697E-D247-AF70-A9E9F267D991}" type="presParOf" srcId="{1E62A4CE-5CAE-2347-BBBA-ED39B7D56BF3}" destId="{6B661FF3-2CBF-FF4B-A730-D830963C9992}" srcOrd="0" destOrd="0" presId="urn:microsoft.com/office/officeart/2005/8/layout/orgChart1"/>
    <dgm:cxn modelId="{039E7098-E7C7-4643-885F-EDDCF72424C7}" type="presParOf" srcId="{1E62A4CE-5CAE-2347-BBBA-ED39B7D56BF3}" destId="{6D401655-C88A-4E41-AB98-4B8953829A6B}" srcOrd="1" destOrd="0" presId="urn:microsoft.com/office/officeart/2005/8/layout/orgChart1"/>
    <dgm:cxn modelId="{7A89C8AE-AD9A-3646-B535-6C1CB1EE5ED0}" type="presParOf" srcId="{F2A59989-797B-E146-904B-9FDDF6190196}" destId="{8CB34C92-BFC3-C644-B1C7-38712F65D287}" srcOrd="1" destOrd="0" presId="urn:microsoft.com/office/officeart/2005/8/layout/orgChart1"/>
    <dgm:cxn modelId="{32714ECC-8047-094D-95C1-65C1B456B2E2}" type="presParOf" srcId="{8CB34C92-BFC3-C644-B1C7-38712F65D287}" destId="{F2F9CDEA-17C4-6B49-A73F-BA7FD057FE60}" srcOrd="0" destOrd="0" presId="urn:microsoft.com/office/officeart/2005/8/layout/orgChart1"/>
    <dgm:cxn modelId="{2899FA06-472E-3B4A-BED3-A34FAC720244}" type="presParOf" srcId="{8CB34C92-BFC3-C644-B1C7-38712F65D287}" destId="{2E9ABCC0-F862-9B41-B659-A7CAB165569B}" srcOrd="1" destOrd="0" presId="urn:microsoft.com/office/officeart/2005/8/layout/orgChart1"/>
    <dgm:cxn modelId="{D75F9782-1D34-6C45-84D3-60D2D0A7F4EE}" type="presParOf" srcId="{2E9ABCC0-F862-9B41-B659-A7CAB165569B}" destId="{4C735C5D-8C1E-C045-A9C0-65C6CB8476AE}" srcOrd="0" destOrd="0" presId="urn:microsoft.com/office/officeart/2005/8/layout/orgChart1"/>
    <dgm:cxn modelId="{4E3A8BDB-6E71-E140-903A-48D30F45B805}" type="presParOf" srcId="{4C735C5D-8C1E-C045-A9C0-65C6CB8476AE}" destId="{9BED3EDA-5A01-004A-9D06-721392128D97}" srcOrd="0" destOrd="0" presId="urn:microsoft.com/office/officeart/2005/8/layout/orgChart1"/>
    <dgm:cxn modelId="{40615019-AB98-4248-8628-8FC9FC54948F}" type="presParOf" srcId="{4C735C5D-8C1E-C045-A9C0-65C6CB8476AE}" destId="{15D481B7-D700-5B48-B739-A0BCBAE87FB1}" srcOrd="1" destOrd="0" presId="urn:microsoft.com/office/officeart/2005/8/layout/orgChart1"/>
    <dgm:cxn modelId="{1BF137E1-DFD0-5C4A-9CFF-2ECC1186ACEA}" type="presParOf" srcId="{2E9ABCC0-F862-9B41-B659-A7CAB165569B}" destId="{2ED2C93B-0CB8-B042-B6E4-C113B8B401EB}" srcOrd="1" destOrd="0" presId="urn:microsoft.com/office/officeart/2005/8/layout/orgChart1"/>
    <dgm:cxn modelId="{4A2B7118-FD3C-674B-A43C-124D5EE65CEA}" type="presParOf" srcId="{2E9ABCC0-F862-9B41-B659-A7CAB165569B}" destId="{7ACE3212-874D-4142-B9A8-AD7355C3A0C3}" srcOrd="2" destOrd="0" presId="urn:microsoft.com/office/officeart/2005/8/layout/orgChart1"/>
    <dgm:cxn modelId="{5A8D27E7-4E9F-D94A-879A-6EAD5C6AAC57}" type="presParOf" srcId="{8CB34C92-BFC3-C644-B1C7-38712F65D287}" destId="{DAF9BC79-5AB3-3449-A2AA-ACD32F68028F}" srcOrd="2" destOrd="0" presId="urn:microsoft.com/office/officeart/2005/8/layout/orgChart1"/>
    <dgm:cxn modelId="{010D1F1F-E122-B448-8162-4E9AD4946C28}" type="presParOf" srcId="{8CB34C92-BFC3-C644-B1C7-38712F65D287}" destId="{F624A04F-911F-744E-BE78-1AB41A8ED39F}" srcOrd="3" destOrd="0" presId="urn:microsoft.com/office/officeart/2005/8/layout/orgChart1"/>
    <dgm:cxn modelId="{58CA997A-E384-CF4F-A36D-A741E8D92513}" type="presParOf" srcId="{F624A04F-911F-744E-BE78-1AB41A8ED39F}" destId="{B2BF8786-FDAD-5F45-87CC-C0790C31F6E4}" srcOrd="0" destOrd="0" presId="urn:microsoft.com/office/officeart/2005/8/layout/orgChart1"/>
    <dgm:cxn modelId="{E4ADBB2B-67A3-E84C-9D42-3864F54E91B6}" type="presParOf" srcId="{B2BF8786-FDAD-5F45-87CC-C0790C31F6E4}" destId="{2B9E0AC0-7891-E44C-9C30-7BABFC62B842}" srcOrd="0" destOrd="0" presId="urn:microsoft.com/office/officeart/2005/8/layout/orgChart1"/>
    <dgm:cxn modelId="{4AB6E39A-01C0-BA4C-9EFC-98AF2DDEEFC4}" type="presParOf" srcId="{B2BF8786-FDAD-5F45-87CC-C0790C31F6E4}" destId="{EF3B99E7-8B18-514F-BC08-2FB7AE4D0F20}" srcOrd="1" destOrd="0" presId="urn:microsoft.com/office/officeart/2005/8/layout/orgChart1"/>
    <dgm:cxn modelId="{5FBE79E2-F9F9-784D-870C-6A9CD81A2462}" type="presParOf" srcId="{F624A04F-911F-744E-BE78-1AB41A8ED39F}" destId="{7C8B92EF-1AFA-0446-BC0A-45267C85B68C}" srcOrd="1" destOrd="0" presId="urn:microsoft.com/office/officeart/2005/8/layout/orgChart1"/>
    <dgm:cxn modelId="{9FBB38CF-6B58-354E-8EBF-FB17111B7594}" type="presParOf" srcId="{F624A04F-911F-744E-BE78-1AB41A8ED39F}" destId="{27FED3B8-F6AA-C044-843B-CB266249F961}" srcOrd="2" destOrd="0" presId="urn:microsoft.com/office/officeart/2005/8/layout/orgChart1"/>
    <dgm:cxn modelId="{A8BD16BE-6FB3-1A49-B932-F49339D17DF9}" type="presParOf" srcId="{F2A59989-797B-E146-904B-9FDDF6190196}" destId="{FBC251CC-87C6-D24A-8069-8EE62638F34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5397452-2432-B444-A616-C0B8CE610343}" type="doc">
      <dgm:prSet loTypeId="urn:microsoft.com/office/officeart/2005/8/layout/lProcess2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7CDAC2C-2DC9-1B4E-A067-DE401D00A58B}">
      <dgm:prSet phldrT="[Text]"/>
      <dgm:spPr/>
      <dgm:t>
        <a:bodyPr/>
        <a:lstStyle/>
        <a:p>
          <a:r>
            <a:rPr lang="en-GB" dirty="0"/>
            <a:t>EC</a:t>
          </a:r>
        </a:p>
      </dgm:t>
    </dgm:pt>
    <dgm:pt modelId="{35D09F6A-BE12-9540-8C62-F439E6D0C956}" type="parTrans" cxnId="{0A8E5407-E6C0-1C4D-BA36-B6C86F3E3FD8}">
      <dgm:prSet/>
      <dgm:spPr/>
      <dgm:t>
        <a:bodyPr/>
        <a:lstStyle/>
        <a:p>
          <a:endParaRPr lang="en-GB"/>
        </a:p>
      </dgm:t>
    </dgm:pt>
    <dgm:pt modelId="{95535633-3438-A943-9642-9FF327CCAFF8}" type="sibTrans" cxnId="{0A8E5407-E6C0-1C4D-BA36-B6C86F3E3FD8}">
      <dgm:prSet/>
      <dgm:spPr/>
      <dgm:t>
        <a:bodyPr/>
        <a:lstStyle/>
        <a:p>
          <a:endParaRPr lang="en-GB"/>
        </a:p>
      </dgm:t>
    </dgm:pt>
    <dgm:pt modelId="{5898BD28-809B-7745-B465-CF7431A866F3}">
      <dgm:prSet phldrT="[Text]" custT="1"/>
      <dgm:spPr/>
      <dgm:t>
        <a:bodyPr/>
        <a:lstStyle/>
        <a:p>
          <a:pPr algn="ctr">
            <a:buNone/>
          </a:pPr>
          <a:r>
            <a:rPr lang="en-GB" sz="2000" dirty="0"/>
            <a:t>includes in impact assessment a study on: </a:t>
          </a:r>
        </a:p>
        <a:p>
          <a:pPr algn="l">
            <a:buFont typeface="+mj-lt"/>
            <a:buNone/>
          </a:pPr>
          <a:r>
            <a:rPr lang="en-GB" sz="2000" dirty="0"/>
            <a:t>- the full benefits of LT FBA</a:t>
          </a:r>
        </a:p>
        <a:p>
          <a:pPr algn="l">
            <a:buFont typeface="+mj-lt"/>
            <a:buNone/>
          </a:pPr>
          <a:r>
            <a:rPr lang="en-GB" sz="2000" dirty="0"/>
            <a:t>- compatibility with future design options</a:t>
          </a:r>
        </a:p>
      </dgm:t>
    </dgm:pt>
    <dgm:pt modelId="{6CAB8272-4E2B-6745-8341-21163C748795}" type="parTrans" cxnId="{8580A2C8-726E-E942-A016-6852877886F2}">
      <dgm:prSet/>
      <dgm:spPr/>
      <dgm:t>
        <a:bodyPr/>
        <a:lstStyle/>
        <a:p>
          <a:endParaRPr lang="en-GB"/>
        </a:p>
      </dgm:t>
    </dgm:pt>
    <dgm:pt modelId="{A0530086-EF02-4C41-AC2A-A67D0A20AB55}" type="sibTrans" cxnId="{8580A2C8-726E-E942-A016-6852877886F2}">
      <dgm:prSet/>
      <dgm:spPr/>
      <dgm:t>
        <a:bodyPr/>
        <a:lstStyle/>
        <a:p>
          <a:endParaRPr lang="en-GB"/>
        </a:p>
      </dgm:t>
    </dgm:pt>
    <dgm:pt modelId="{36A9D0E1-10C5-9F41-90B9-5327203DA4B4}">
      <dgm:prSet phldrT="[Text]"/>
      <dgm:spPr/>
      <dgm:t>
        <a:bodyPr/>
        <a:lstStyle/>
        <a:p>
          <a:r>
            <a:rPr lang="en-GB" dirty="0"/>
            <a:t>ACER</a:t>
          </a:r>
        </a:p>
      </dgm:t>
    </dgm:pt>
    <dgm:pt modelId="{B2291CCB-4A57-9341-A173-CCDCAD4195D5}" type="parTrans" cxnId="{5C851B58-F327-A543-89DF-B35CCFB5251A}">
      <dgm:prSet/>
      <dgm:spPr/>
      <dgm:t>
        <a:bodyPr/>
        <a:lstStyle/>
        <a:p>
          <a:endParaRPr lang="en-GB"/>
        </a:p>
      </dgm:t>
    </dgm:pt>
    <dgm:pt modelId="{95AC7851-1251-0049-A085-6236591D6C05}" type="sibTrans" cxnId="{5C851B58-F327-A543-89DF-B35CCFB5251A}">
      <dgm:prSet/>
      <dgm:spPr/>
      <dgm:t>
        <a:bodyPr/>
        <a:lstStyle/>
        <a:p>
          <a:endParaRPr lang="en-GB"/>
        </a:p>
      </dgm:t>
    </dgm:pt>
    <dgm:pt modelId="{5EB936A7-7A1A-5343-9B7C-7B843AF7A734}">
      <dgm:prSet phldrT="[Text]"/>
      <dgm:spPr/>
      <dgm:t>
        <a:bodyPr/>
        <a:lstStyle/>
        <a:p>
          <a:r>
            <a:rPr lang="en-GB" dirty="0"/>
            <a:t>shares data and hypothesis from original 2021 simulations on auction surplus</a:t>
          </a:r>
        </a:p>
      </dgm:t>
    </dgm:pt>
    <dgm:pt modelId="{D3BD4E40-977F-DC45-BBB7-C546C849B320}" type="parTrans" cxnId="{0C14BD43-1BAB-864D-8752-ED7B8ECAD413}">
      <dgm:prSet/>
      <dgm:spPr/>
      <dgm:t>
        <a:bodyPr/>
        <a:lstStyle/>
        <a:p>
          <a:endParaRPr lang="en-GB"/>
        </a:p>
      </dgm:t>
    </dgm:pt>
    <dgm:pt modelId="{CDDDB56E-C0DB-514A-B9B2-44C3CA2DC132}" type="sibTrans" cxnId="{0C14BD43-1BAB-864D-8752-ED7B8ECAD413}">
      <dgm:prSet/>
      <dgm:spPr/>
      <dgm:t>
        <a:bodyPr/>
        <a:lstStyle/>
        <a:p>
          <a:endParaRPr lang="en-GB"/>
        </a:p>
      </dgm:t>
    </dgm:pt>
    <dgm:pt modelId="{E6ABEEA6-857D-2347-88F9-10B48975ED89}">
      <dgm:prSet phldrT="[Text]"/>
      <dgm:spPr/>
      <dgm:t>
        <a:bodyPr/>
        <a:lstStyle/>
        <a:p>
          <a:r>
            <a:rPr lang="en-GB" dirty="0"/>
            <a:t>TSOs</a:t>
          </a:r>
        </a:p>
      </dgm:t>
    </dgm:pt>
    <dgm:pt modelId="{D2ADE4E8-5C99-B641-A12C-FC7CF2433881}" type="parTrans" cxnId="{599CC152-B960-A843-B884-CA8ACE406307}">
      <dgm:prSet/>
      <dgm:spPr/>
      <dgm:t>
        <a:bodyPr/>
        <a:lstStyle/>
        <a:p>
          <a:endParaRPr lang="en-GB"/>
        </a:p>
      </dgm:t>
    </dgm:pt>
    <dgm:pt modelId="{B73337CD-5764-3148-A3A9-46E68CE41BD6}" type="sibTrans" cxnId="{599CC152-B960-A843-B884-CA8ACE406307}">
      <dgm:prSet/>
      <dgm:spPr/>
      <dgm:t>
        <a:bodyPr/>
        <a:lstStyle/>
        <a:p>
          <a:endParaRPr lang="en-GB"/>
        </a:p>
      </dgm:t>
    </dgm:pt>
    <dgm:pt modelId="{91B064D8-8099-3E4A-BBAD-AECF88812BA0}">
      <dgm:prSet phldrT="[Text]"/>
      <dgm:spPr/>
      <dgm:t>
        <a:bodyPr/>
        <a:lstStyle/>
        <a:p>
          <a:r>
            <a:rPr lang="en-GB" dirty="0"/>
            <a:t>shares data and hypothesis from 2023 and 2024 simulations on allocated volumes</a:t>
          </a:r>
        </a:p>
      </dgm:t>
    </dgm:pt>
    <dgm:pt modelId="{4AC1E238-DF68-F34F-A96F-A758EB69ABE8}" type="parTrans" cxnId="{E9B8CBE1-9BC8-D140-BFE7-5AF16AA9DC46}">
      <dgm:prSet/>
      <dgm:spPr/>
      <dgm:t>
        <a:bodyPr/>
        <a:lstStyle/>
        <a:p>
          <a:endParaRPr lang="en-GB"/>
        </a:p>
      </dgm:t>
    </dgm:pt>
    <dgm:pt modelId="{19AFB7FF-7367-3B4C-A0E6-702860860346}" type="sibTrans" cxnId="{E9B8CBE1-9BC8-D140-BFE7-5AF16AA9DC46}">
      <dgm:prSet/>
      <dgm:spPr/>
      <dgm:t>
        <a:bodyPr/>
        <a:lstStyle/>
        <a:p>
          <a:endParaRPr lang="en-GB"/>
        </a:p>
      </dgm:t>
    </dgm:pt>
    <dgm:pt modelId="{C53F0A8E-DB5C-1240-A85B-B2DE83D018CA}">
      <dgm:prSet phldrT="[Text]" custT="1"/>
      <dgm:spPr/>
      <dgm:t>
        <a:bodyPr/>
        <a:lstStyle/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/>
            <a:t>works on mitigation measures for: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en-GB" sz="13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- ensure better availability of LT capacity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en-GB" sz="1300" kern="1200" dirty="0"/>
            <a:t>- access to min LTTR volumes at all borders</a:t>
          </a:r>
          <a:br>
            <a:rPr lang="en-GB" sz="1300" kern="1200" dirty="0"/>
          </a:br>
          <a:r>
            <a:rPr lang="en-GB" sz="1300" kern="1200" dirty="0"/>
            <a:t>- collateral easing</a:t>
          </a:r>
        </a:p>
      </dgm:t>
    </dgm:pt>
    <dgm:pt modelId="{83198F07-552A-6046-B329-1F14890DE09E}" type="parTrans" cxnId="{C8510A00-A203-7D44-8DE0-3C59771EB912}">
      <dgm:prSet/>
      <dgm:spPr/>
      <dgm:t>
        <a:bodyPr/>
        <a:lstStyle/>
        <a:p>
          <a:endParaRPr lang="en-GB"/>
        </a:p>
      </dgm:t>
    </dgm:pt>
    <dgm:pt modelId="{3763E4B2-B6BF-2140-992F-0628D90E3A0B}" type="sibTrans" cxnId="{C8510A00-A203-7D44-8DE0-3C59771EB912}">
      <dgm:prSet/>
      <dgm:spPr/>
      <dgm:t>
        <a:bodyPr/>
        <a:lstStyle/>
        <a:p>
          <a:endParaRPr lang="en-GB"/>
        </a:p>
      </dgm:t>
    </dgm:pt>
    <dgm:pt modelId="{9A53C4C4-1FCC-6347-B442-4B42FBC29EF4}">
      <dgm:prSet phldrT="[Text]"/>
      <dgm:spPr/>
      <dgm:t>
        <a:bodyPr/>
        <a:lstStyle/>
        <a:p>
          <a:r>
            <a:rPr lang="en-GB" dirty="0"/>
            <a:t>MPs</a:t>
          </a:r>
        </a:p>
      </dgm:t>
    </dgm:pt>
    <dgm:pt modelId="{6EA6475F-F487-4A4A-84D5-3BA0A3C9EC4F}" type="parTrans" cxnId="{82F9E0A9-9B2B-F841-8BC9-530747939F2D}">
      <dgm:prSet/>
      <dgm:spPr/>
      <dgm:t>
        <a:bodyPr/>
        <a:lstStyle/>
        <a:p>
          <a:endParaRPr lang="en-GB"/>
        </a:p>
      </dgm:t>
    </dgm:pt>
    <dgm:pt modelId="{024FE51A-F1B4-BA42-8B49-77331F65BFDF}" type="sibTrans" cxnId="{82F9E0A9-9B2B-F841-8BC9-530747939F2D}">
      <dgm:prSet/>
      <dgm:spPr/>
      <dgm:t>
        <a:bodyPr/>
        <a:lstStyle/>
        <a:p>
          <a:endParaRPr lang="en-GB"/>
        </a:p>
      </dgm:t>
    </dgm:pt>
    <dgm:pt modelId="{8943BA8F-6110-9345-BB60-8C383D416A8F}">
      <dgm:prSet/>
      <dgm:spPr/>
      <dgm:t>
        <a:bodyPr/>
        <a:lstStyle/>
        <a:p>
          <a:r>
            <a:rPr lang="en-GB" dirty="0"/>
            <a:t>sets new deadline for LT FBA </a:t>
          </a:r>
          <a:r>
            <a:rPr lang="en-GB" dirty="0">
              <a:solidFill>
                <a:schemeClr val="bg1"/>
              </a:solidFill>
            </a:rPr>
            <a:t>go-live, considering EC’s IA potential outcomes and necessary progress </a:t>
          </a:r>
          <a:r>
            <a:rPr lang="en-GB" dirty="0"/>
            <a:t>on mitigation measures</a:t>
          </a:r>
        </a:p>
      </dgm:t>
    </dgm:pt>
    <dgm:pt modelId="{E343455B-D91B-3549-B96B-A2340AE30857}" type="parTrans" cxnId="{F5835A32-13C5-3D42-AA4C-4D53C1155112}">
      <dgm:prSet/>
      <dgm:spPr/>
      <dgm:t>
        <a:bodyPr/>
        <a:lstStyle/>
        <a:p>
          <a:endParaRPr lang="en-GB"/>
        </a:p>
      </dgm:t>
    </dgm:pt>
    <dgm:pt modelId="{30328C3E-FA5F-2845-9DBB-790D3274C789}" type="sibTrans" cxnId="{F5835A32-13C5-3D42-AA4C-4D53C1155112}">
      <dgm:prSet/>
      <dgm:spPr/>
      <dgm:t>
        <a:bodyPr/>
        <a:lstStyle/>
        <a:p>
          <a:endParaRPr lang="en-GB"/>
        </a:p>
      </dgm:t>
    </dgm:pt>
    <dgm:pt modelId="{37064D8D-3974-5A41-9E8A-C39565D1C9B7}">
      <dgm:prSet/>
      <dgm:spPr/>
      <dgm:t>
        <a:bodyPr/>
        <a:lstStyle/>
        <a:p>
          <a:r>
            <a:rPr lang="en-GB" dirty="0"/>
            <a:t>shares data and hypothesis from 2024 simulations on </a:t>
          </a:r>
          <a:r>
            <a:rPr lang="en-GB" dirty="0" err="1"/>
            <a:t>minRAMs</a:t>
          </a:r>
          <a:endParaRPr lang="en-GB" dirty="0"/>
        </a:p>
      </dgm:t>
    </dgm:pt>
    <dgm:pt modelId="{8A088627-FE33-2643-A380-2A741A962A97}" type="parTrans" cxnId="{D4E7CD24-BDE8-EA4C-9EA7-7A975CDCEE3B}">
      <dgm:prSet/>
      <dgm:spPr/>
      <dgm:t>
        <a:bodyPr/>
        <a:lstStyle/>
        <a:p>
          <a:endParaRPr lang="en-GB"/>
        </a:p>
      </dgm:t>
    </dgm:pt>
    <dgm:pt modelId="{A1885A02-676F-0641-A572-32715FF0EB8A}" type="sibTrans" cxnId="{D4E7CD24-BDE8-EA4C-9EA7-7A975CDCEE3B}">
      <dgm:prSet/>
      <dgm:spPr/>
      <dgm:t>
        <a:bodyPr/>
        <a:lstStyle/>
        <a:p>
          <a:endParaRPr lang="en-GB"/>
        </a:p>
      </dgm:t>
    </dgm:pt>
    <dgm:pt modelId="{9275CCF2-5523-F14E-871B-CA813D906381}">
      <dgm:prSet phldrT="[Text]"/>
      <dgm:spPr/>
      <dgm:t>
        <a:bodyPr/>
        <a:lstStyle/>
        <a:p>
          <a:pPr>
            <a:buNone/>
          </a:pPr>
          <a:r>
            <a:rPr lang="en-GB" dirty="0"/>
            <a:t>inputs on:</a:t>
          </a:r>
        </a:p>
        <a:p>
          <a:pPr>
            <a:buNone/>
          </a:pPr>
          <a:r>
            <a:rPr lang="en-GB" dirty="0"/>
            <a:t>- EC work on LT FBA value</a:t>
          </a:r>
          <a:br>
            <a:rPr lang="en-GB" dirty="0"/>
          </a:br>
          <a:r>
            <a:rPr lang="en-GB" dirty="0"/>
            <a:t>- TSOs work on min mitigation measures</a:t>
          </a:r>
        </a:p>
      </dgm:t>
    </dgm:pt>
    <dgm:pt modelId="{E0D23868-1AF3-4942-BF22-23590D396ACF}" type="parTrans" cxnId="{1A072171-3EC8-CC41-B986-B6CE48081DE4}">
      <dgm:prSet/>
      <dgm:spPr/>
      <dgm:t>
        <a:bodyPr/>
        <a:lstStyle/>
        <a:p>
          <a:endParaRPr lang="en-GB"/>
        </a:p>
      </dgm:t>
    </dgm:pt>
    <dgm:pt modelId="{451CD64F-F71A-3949-BA8C-84C57AB88B76}" type="sibTrans" cxnId="{1A072171-3EC8-CC41-B986-B6CE48081DE4}">
      <dgm:prSet/>
      <dgm:spPr/>
      <dgm:t>
        <a:bodyPr/>
        <a:lstStyle/>
        <a:p>
          <a:endParaRPr lang="en-GB"/>
        </a:p>
      </dgm:t>
    </dgm:pt>
    <dgm:pt modelId="{6C3DFCEC-EF77-7844-9627-2229FD2FC630}" type="pres">
      <dgm:prSet presAssocID="{85397452-2432-B444-A616-C0B8CE610343}" presName="theList" presStyleCnt="0">
        <dgm:presLayoutVars>
          <dgm:dir/>
          <dgm:animLvl val="lvl"/>
          <dgm:resizeHandles val="exact"/>
        </dgm:presLayoutVars>
      </dgm:prSet>
      <dgm:spPr/>
    </dgm:pt>
    <dgm:pt modelId="{38531FE0-832E-2645-A088-40776FA3601E}" type="pres">
      <dgm:prSet presAssocID="{F7CDAC2C-2DC9-1B4E-A067-DE401D00A58B}" presName="compNode" presStyleCnt="0"/>
      <dgm:spPr/>
    </dgm:pt>
    <dgm:pt modelId="{87845B0F-F4BB-4B44-9656-0B54575FF9F5}" type="pres">
      <dgm:prSet presAssocID="{F7CDAC2C-2DC9-1B4E-A067-DE401D00A58B}" presName="aNode" presStyleLbl="bgShp" presStyleIdx="0" presStyleCnt="4"/>
      <dgm:spPr/>
    </dgm:pt>
    <dgm:pt modelId="{9AFBE171-E870-9F4E-848F-9D9E7A040D51}" type="pres">
      <dgm:prSet presAssocID="{F7CDAC2C-2DC9-1B4E-A067-DE401D00A58B}" presName="textNode" presStyleLbl="bgShp" presStyleIdx="0" presStyleCnt="4"/>
      <dgm:spPr/>
    </dgm:pt>
    <dgm:pt modelId="{CF10829A-030D-8241-9294-EED8EE220A81}" type="pres">
      <dgm:prSet presAssocID="{F7CDAC2C-2DC9-1B4E-A067-DE401D00A58B}" presName="compChildNode" presStyleCnt="0"/>
      <dgm:spPr/>
    </dgm:pt>
    <dgm:pt modelId="{72E3E21A-A5FA-1B4E-9A9E-5B18F752C873}" type="pres">
      <dgm:prSet presAssocID="{F7CDAC2C-2DC9-1B4E-A067-DE401D00A58B}" presName="theInnerList" presStyleCnt="0"/>
      <dgm:spPr/>
    </dgm:pt>
    <dgm:pt modelId="{336E439F-5EDF-A249-8FC4-2E73238AEEA7}" type="pres">
      <dgm:prSet presAssocID="{5898BD28-809B-7745-B465-CF7431A866F3}" presName="childNode" presStyleLbl="node1" presStyleIdx="0" presStyleCnt="7">
        <dgm:presLayoutVars>
          <dgm:bulletEnabled val="1"/>
        </dgm:presLayoutVars>
      </dgm:prSet>
      <dgm:spPr/>
    </dgm:pt>
    <dgm:pt modelId="{45742235-9ECF-464C-846D-C3FFCA701B71}" type="pres">
      <dgm:prSet presAssocID="{F7CDAC2C-2DC9-1B4E-A067-DE401D00A58B}" presName="aSpace" presStyleCnt="0"/>
      <dgm:spPr/>
    </dgm:pt>
    <dgm:pt modelId="{8EAF7C7D-FABF-724B-A0A5-A202482A09B6}" type="pres">
      <dgm:prSet presAssocID="{36A9D0E1-10C5-9F41-90B9-5327203DA4B4}" presName="compNode" presStyleCnt="0"/>
      <dgm:spPr/>
    </dgm:pt>
    <dgm:pt modelId="{6EC60B5C-6BF8-A348-B76B-0F5B30DD0DC0}" type="pres">
      <dgm:prSet presAssocID="{36A9D0E1-10C5-9F41-90B9-5327203DA4B4}" presName="aNode" presStyleLbl="bgShp" presStyleIdx="1" presStyleCnt="4"/>
      <dgm:spPr/>
    </dgm:pt>
    <dgm:pt modelId="{606BBB1C-0DAF-E34D-8941-342D1411348C}" type="pres">
      <dgm:prSet presAssocID="{36A9D0E1-10C5-9F41-90B9-5327203DA4B4}" presName="textNode" presStyleLbl="bgShp" presStyleIdx="1" presStyleCnt="4"/>
      <dgm:spPr/>
    </dgm:pt>
    <dgm:pt modelId="{A1367818-9EB8-0148-BB76-AE3926EF5937}" type="pres">
      <dgm:prSet presAssocID="{36A9D0E1-10C5-9F41-90B9-5327203DA4B4}" presName="compChildNode" presStyleCnt="0"/>
      <dgm:spPr/>
    </dgm:pt>
    <dgm:pt modelId="{645183DB-5655-3F4E-A15D-66C75E8FF046}" type="pres">
      <dgm:prSet presAssocID="{36A9D0E1-10C5-9F41-90B9-5327203DA4B4}" presName="theInnerList" presStyleCnt="0"/>
      <dgm:spPr/>
    </dgm:pt>
    <dgm:pt modelId="{CF04258B-5984-A94F-945D-FDCF5FF1D1A3}" type="pres">
      <dgm:prSet presAssocID="{5EB936A7-7A1A-5343-9B7C-7B843AF7A734}" presName="childNode" presStyleLbl="node1" presStyleIdx="1" presStyleCnt="7">
        <dgm:presLayoutVars>
          <dgm:bulletEnabled val="1"/>
        </dgm:presLayoutVars>
      </dgm:prSet>
      <dgm:spPr/>
    </dgm:pt>
    <dgm:pt modelId="{5AF9FBE4-1ED4-2540-A79E-C457FCDCBE47}" type="pres">
      <dgm:prSet presAssocID="{5EB936A7-7A1A-5343-9B7C-7B843AF7A734}" presName="aSpace2" presStyleCnt="0"/>
      <dgm:spPr/>
    </dgm:pt>
    <dgm:pt modelId="{0EC53C12-5331-F140-B0FE-4B97DD07792C}" type="pres">
      <dgm:prSet presAssocID="{8943BA8F-6110-9345-BB60-8C383D416A8F}" presName="childNode" presStyleLbl="node1" presStyleIdx="2" presStyleCnt="7">
        <dgm:presLayoutVars>
          <dgm:bulletEnabled val="1"/>
        </dgm:presLayoutVars>
      </dgm:prSet>
      <dgm:spPr/>
    </dgm:pt>
    <dgm:pt modelId="{6E2B77E9-995C-7942-94BE-7E96BC65A1CF}" type="pres">
      <dgm:prSet presAssocID="{36A9D0E1-10C5-9F41-90B9-5327203DA4B4}" presName="aSpace" presStyleCnt="0"/>
      <dgm:spPr/>
    </dgm:pt>
    <dgm:pt modelId="{C8AFD5B8-A1A7-F64E-9455-7687A61F7E84}" type="pres">
      <dgm:prSet presAssocID="{E6ABEEA6-857D-2347-88F9-10B48975ED89}" presName="compNode" presStyleCnt="0"/>
      <dgm:spPr/>
    </dgm:pt>
    <dgm:pt modelId="{1C745F16-9156-4941-8AEB-38150B794BC5}" type="pres">
      <dgm:prSet presAssocID="{E6ABEEA6-857D-2347-88F9-10B48975ED89}" presName="aNode" presStyleLbl="bgShp" presStyleIdx="2" presStyleCnt="4"/>
      <dgm:spPr/>
    </dgm:pt>
    <dgm:pt modelId="{CAC8ED37-FD41-A247-AECA-6FDD0A64B12B}" type="pres">
      <dgm:prSet presAssocID="{E6ABEEA6-857D-2347-88F9-10B48975ED89}" presName="textNode" presStyleLbl="bgShp" presStyleIdx="2" presStyleCnt="4"/>
      <dgm:spPr/>
    </dgm:pt>
    <dgm:pt modelId="{CD8AAA16-6972-A64A-92DB-C606DD0B0F37}" type="pres">
      <dgm:prSet presAssocID="{E6ABEEA6-857D-2347-88F9-10B48975ED89}" presName="compChildNode" presStyleCnt="0"/>
      <dgm:spPr/>
    </dgm:pt>
    <dgm:pt modelId="{9F28E7F7-01A2-CE47-994B-0417B125131B}" type="pres">
      <dgm:prSet presAssocID="{E6ABEEA6-857D-2347-88F9-10B48975ED89}" presName="theInnerList" presStyleCnt="0"/>
      <dgm:spPr/>
    </dgm:pt>
    <dgm:pt modelId="{26F2B194-E30A-E845-BD07-0F29F332C4B9}" type="pres">
      <dgm:prSet presAssocID="{91B064D8-8099-3E4A-BBAD-AECF88812BA0}" presName="childNode" presStyleLbl="node1" presStyleIdx="3" presStyleCnt="7">
        <dgm:presLayoutVars>
          <dgm:bulletEnabled val="1"/>
        </dgm:presLayoutVars>
      </dgm:prSet>
      <dgm:spPr/>
    </dgm:pt>
    <dgm:pt modelId="{62B31520-11AD-784D-8E50-7EA2E1B51222}" type="pres">
      <dgm:prSet presAssocID="{91B064D8-8099-3E4A-BBAD-AECF88812BA0}" presName="aSpace2" presStyleCnt="0"/>
      <dgm:spPr/>
    </dgm:pt>
    <dgm:pt modelId="{CAF79444-711A-BA41-9741-49482280B1D4}" type="pres">
      <dgm:prSet presAssocID="{C53F0A8E-DB5C-1240-A85B-B2DE83D018CA}" presName="childNode" presStyleLbl="node1" presStyleIdx="4" presStyleCnt="7">
        <dgm:presLayoutVars>
          <dgm:bulletEnabled val="1"/>
        </dgm:presLayoutVars>
      </dgm:prSet>
      <dgm:spPr/>
    </dgm:pt>
    <dgm:pt modelId="{5C6517ED-0B4B-7041-9D26-1D06E263B611}" type="pres">
      <dgm:prSet presAssocID="{E6ABEEA6-857D-2347-88F9-10B48975ED89}" presName="aSpace" presStyleCnt="0"/>
      <dgm:spPr/>
    </dgm:pt>
    <dgm:pt modelId="{CF5D6E20-5258-B84D-A7AC-D939961403DA}" type="pres">
      <dgm:prSet presAssocID="{9A53C4C4-1FCC-6347-B442-4B42FBC29EF4}" presName="compNode" presStyleCnt="0"/>
      <dgm:spPr/>
    </dgm:pt>
    <dgm:pt modelId="{B62284DD-9106-9D43-BF98-833A659BD5B4}" type="pres">
      <dgm:prSet presAssocID="{9A53C4C4-1FCC-6347-B442-4B42FBC29EF4}" presName="aNode" presStyleLbl="bgShp" presStyleIdx="3" presStyleCnt="4"/>
      <dgm:spPr/>
    </dgm:pt>
    <dgm:pt modelId="{6225852F-5015-254E-B0AE-6EE12F8018AB}" type="pres">
      <dgm:prSet presAssocID="{9A53C4C4-1FCC-6347-B442-4B42FBC29EF4}" presName="textNode" presStyleLbl="bgShp" presStyleIdx="3" presStyleCnt="4"/>
      <dgm:spPr/>
    </dgm:pt>
    <dgm:pt modelId="{304B1A5B-CC92-9140-9B83-12D5B688F73A}" type="pres">
      <dgm:prSet presAssocID="{9A53C4C4-1FCC-6347-B442-4B42FBC29EF4}" presName="compChildNode" presStyleCnt="0"/>
      <dgm:spPr/>
    </dgm:pt>
    <dgm:pt modelId="{0C1BC706-8167-8F4B-9D4E-D8E23EC2C56C}" type="pres">
      <dgm:prSet presAssocID="{9A53C4C4-1FCC-6347-B442-4B42FBC29EF4}" presName="theInnerList" presStyleCnt="0"/>
      <dgm:spPr/>
    </dgm:pt>
    <dgm:pt modelId="{AAF50F4F-6B9E-E24F-9606-29EB6F3CF2F6}" type="pres">
      <dgm:prSet presAssocID="{37064D8D-3974-5A41-9E8A-C39565D1C9B7}" presName="childNode" presStyleLbl="node1" presStyleIdx="5" presStyleCnt="7">
        <dgm:presLayoutVars>
          <dgm:bulletEnabled val="1"/>
        </dgm:presLayoutVars>
      </dgm:prSet>
      <dgm:spPr/>
    </dgm:pt>
    <dgm:pt modelId="{C95810C4-D80A-ED49-8504-53BEA4BD5BA6}" type="pres">
      <dgm:prSet presAssocID="{37064D8D-3974-5A41-9E8A-C39565D1C9B7}" presName="aSpace2" presStyleCnt="0"/>
      <dgm:spPr/>
    </dgm:pt>
    <dgm:pt modelId="{B7A6010A-6E6E-1F4E-8C75-F08FD980FBCA}" type="pres">
      <dgm:prSet presAssocID="{9275CCF2-5523-F14E-871B-CA813D906381}" presName="childNode" presStyleLbl="node1" presStyleIdx="6" presStyleCnt="7">
        <dgm:presLayoutVars>
          <dgm:bulletEnabled val="1"/>
        </dgm:presLayoutVars>
      </dgm:prSet>
      <dgm:spPr/>
    </dgm:pt>
  </dgm:ptLst>
  <dgm:cxnLst>
    <dgm:cxn modelId="{C8510A00-A203-7D44-8DE0-3C59771EB912}" srcId="{E6ABEEA6-857D-2347-88F9-10B48975ED89}" destId="{C53F0A8E-DB5C-1240-A85B-B2DE83D018CA}" srcOrd="1" destOrd="0" parTransId="{83198F07-552A-6046-B329-1F14890DE09E}" sibTransId="{3763E4B2-B6BF-2140-992F-0628D90E3A0B}"/>
    <dgm:cxn modelId="{680D1F04-1CB3-944A-BA0E-9A89104A24EE}" type="presOf" srcId="{9A53C4C4-1FCC-6347-B442-4B42FBC29EF4}" destId="{B62284DD-9106-9D43-BF98-833A659BD5B4}" srcOrd="0" destOrd="0" presId="urn:microsoft.com/office/officeart/2005/8/layout/lProcess2"/>
    <dgm:cxn modelId="{AEFA1506-CD20-D443-9CC7-A7667FB870B3}" type="presOf" srcId="{9A53C4C4-1FCC-6347-B442-4B42FBC29EF4}" destId="{6225852F-5015-254E-B0AE-6EE12F8018AB}" srcOrd="1" destOrd="0" presId="urn:microsoft.com/office/officeart/2005/8/layout/lProcess2"/>
    <dgm:cxn modelId="{0A8E5407-E6C0-1C4D-BA36-B6C86F3E3FD8}" srcId="{85397452-2432-B444-A616-C0B8CE610343}" destId="{F7CDAC2C-2DC9-1B4E-A067-DE401D00A58B}" srcOrd="0" destOrd="0" parTransId="{35D09F6A-BE12-9540-8C62-F439E6D0C956}" sibTransId="{95535633-3438-A943-9642-9FF327CCAFF8}"/>
    <dgm:cxn modelId="{D4E7CD24-BDE8-EA4C-9EA7-7A975CDCEE3B}" srcId="{9A53C4C4-1FCC-6347-B442-4B42FBC29EF4}" destId="{37064D8D-3974-5A41-9E8A-C39565D1C9B7}" srcOrd="0" destOrd="0" parTransId="{8A088627-FE33-2643-A380-2A741A962A97}" sibTransId="{A1885A02-676F-0641-A572-32715FF0EB8A}"/>
    <dgm:cxn modelId="{F5835A32-13C5-3D42-AA4C-4D53C1155112}" srcId="{36A9D0E1-10C5-9F41-90B9-5327203DA4B4}" destId="{8943BA8F-6110-9345-BB60-8C383D416A8F}" srcOrd="1" destOrd="0" parTransId="{E343455B-D91B-3549-B96B-A2340AE30857}" sibTransId="{30328C3E-FA5F-2845-9DBB-790D3274C789}"/>
    <dgm:cxn modelId="{FE090136-938B-AB47-B281-599395CC6EAE}" type="presOf" srcId="{C53F0A8E-DB5C-1240-A85B-B2DE83D018CA}" destId="{CAF79444-711A-BA41-9741-49482280B1D4}" srcOrd="0" destOrd="0" presId="urn:microsoft.com/office/officeart/2005/8/layout/lProcess2"/>
    <dgm:cxn modelId="{F1473A40-7C8D-CC4E-9269-4082A4E78B6E}" type="presOf" srcId="{E6ABEEA6-857D-2347-88F9-10B48975ED89}" destId="{1C745F16-9156-4941-8AEB-38150B794BC5}" srcOrd="0" destOrd="0" presId="urn:microsoft.com/office/officeart/2005/8/layout/lProcess2"/>
    <dgm:cxn modelId="{0C14BD43-1BAB-864D-8752-ED7B8ECAD413}" srcId="{36A9D0E1-10C5-9F41-90B9-5327203DA4B4}" destId="{5EB936A7-7A1A-5343-9B7C-7B843AF7A734}" srcOrd="0" destOrd="0" parTransId="{D3BD4E40-977F-DC45-BBB7-C546C849B320}" sibTransId="{CDDDB56E-C0DB-514A-B9B2-44C3CA2DC132}"/>
    <dgm:cxn modelId="{AB4F094C-BB41-654D-AFEB-902289984AAD}" type="presOf" srcId="{85397452-2432-B444-A616-C0B8CE610343}" destId="{6C3DFCEC-EF77-7844-9627-2229FD2FC630}" srcOrd="0" destOrd="0" presId="urn:microsoft.com/office/officeart/2005/8/layout/lProcess2"/>
    <dgm:cxn modelId="{8B3A1D4C-AD64-9D40-A14E-248117060212}" type="presOf" srcId="{37064D8D-3974-5A41-9E8A-C39565D1C9B7}" destId="{AAF50F4F-6B9E-E24F-9606-29EB6F3CF2F6}" srcOrd="0" destOrd="0" presId="urn:microsoft.com/office/officeart/2005/8/layout/lProcess2"/>
    <dgm:cxn modelId="{599CC152-B960-A843-B884-CA8ACE406307}" srcId="{85397452-2432-B444-A616-C0B8CE610343}" destId="{E6ABEEA6-857D-2347-88F9-10B48975ED89}" srcOrd="2" destOrd="0" parTransId="{D2ADE4E8-5C99-B641-A12C-FC7CF2433881}" sibTransId="{B73337CD-5764-3148-A3A9-46E68CE41BD6}"/>
    <dgm:cxn modelId="{5C851B58-F327-A543-89DF-B35CCFB5251A}" srcId="{85397452-2432-B444-A616-C0B8CE610343}" destId="{36A9D0E1-10C5-9F41-90B9-5327203DA4B4}" srcOrd="1" destOrd="0" parTransId="{B2291CCB-4A57-9341-A173-CCDCAD4195D5}" sibTransId="{95AC7851-1251-0049-A085-6236591D6C05}"/>
    <dgm:cxn modelId="{596DD859-6024-574C-924B-F2F3BCB4C2EC}" type="presOf" srcId="{9275CCF2-5523-F14E-871B-CA813D906381}" destId="{B7A6010A-6E6E-1F4E-8C75-F08FD980FBCA}" srcOrd="0" destOrd="0" presId="urn:microsoft.com/office/officeart/2005/8/layout/lProcess2"/>
    <dgm:cxn modelId="{1A072171-3EC8-CC41-B986-B6CE48081DE4}" srcId="{9A53C4C4-1FCC-6347-B442-4B42FBC29EF4}" destId="{9275CCF2-5523-F14E-871B-CA813D906381}" srcOrd="1" destOrd="0" parTransId="{E0D23868-1AF3-4942-BF22-23590D396ACF}" sibTransId="{451CD64F-F71A-3949-BA8C-84C57AB88B76}"/>
    <dgm:cxn modelId="{F4C31275-ECF5-A04A-BC41-3D95ACB886A2}" type="presOf" srcId="{91B064D8-8099-3E4A-BBAD-AECF88812BA0}" destId="{26F2B194-E30A-E845-BD07-0F29F332C4B9}" srcOrd="0" destOrd="0" presId="urn:microsoft.com/office/officeart/2005/8/layout/lProcess2"/>
    <dgm:cxn modelId="{12069E83-9DB8-EE49-8BAA-7D2C91EA869A}" type="presOf" srcId="{E6ABEEA6-857D-2347-88F9-10B48975ED89}" destId="{CAC8ED37-FD41-A247-AECA-6FDD0A64B12B}" srcOrd="1" destOrd="0" presId="urn:microsoft.com/office/officeart/2005/8/layout/lProcess2"/>
    <dgm:cxn modelId="{27BCAD83-4EFE-724B-97E3-18DB30D4704B}" type="presOf" srcId="{8943BA8F-6110-9345-BB60-8C383D416A8F}" destId="{0EC53C12-5331-F140-B0FE-4B97DD07792C}" srcOrd="0" destOrd="0" presId="urn:microsoft.com/office/officeart/2005/8/layout/lProcess2"/>
    <dgm:cxn modelId="{6249EAA1-3734-5348-9184-1B15CB026AEF}" type="presOf" srcId="{36A9D0E1-10C5-9F41-90B9-5327203DA4B4}" destId="{606BBB1C-0DAF-E34D-8941-342D1411348C}" srcOrd="1" destOrd="0" presId="urn:microsoft.com/office/officeart/2005/8/layout/lProcess2"/>
    <dgm:cxn modelId="{AC922AA2-8D91-F549-995C-4FE56CA770FD}" type="presOf" srcId="{5EB936A7-7A1A-5343-9B7C-7B843AF7A734}" destId="{CF04258B-5984-A94F-945D-FDCF5FF1D1A3}" srcOrd="0" destOrd="0" presId="urn:microsoft.com/office/officeart/2005/8/layout/lProcess2"/>
    <dgm:cxn modelId="{82F9E0A9-9B2B-F841-8BC9-530747939F2D}" srcId="{85397452-2432-B444-A616-C0B8CE610343}" destId="{9A53C4C4-1FCC-6347-B442-4B42FBC29EF4}" srcOrd="3" destOrd="0" parTransId="{6EA6475F-F487-4A4A-84D5-3BA0A3C9EC4F}" sibTransId="{024FE51A-F1B4-BA42-8B49-77331F65BFDF}"/>
    <dgm:cxn modelId="{3F17F9B7-C0EF-DA4A-A4D0-7497626FF43E}" type="presOf" srcId="{F7CDAC2C-2DC9-1B4E-A067-DE401D00A58B}" destId="{9AFBE171-E870-9F4E-848F-9D9E7A040D51}" srcOrd="1" destOrd="0" presId="urn:microsoft.com/office/officeart/2005/8/layout/lProcess2"/>
    <dgm:cxn modelId="{8580A2C8-726E-E942-A016-6852877886F2}" srcId="{F7CDAC2C-2DC9-1B4E-A067-DE401D00A58B}" destId="{5898BD28-809B-7745-B465-CF7431A866F3}" srcOrd="0" destOrd="0" parTransId="{6CAB8272-4E2B-6745-8341-21163C748795}" sibTransId="{A0530086-EF02-4C41-AC2A-A67D0A20AB55}"/>
    <dgm:cxn modelId="{022B5FDE-0938-B349-A0B8-B42B6889295A}" type="presOf" srcId="{F7CDAC2C-2DC9-1B4E-A067-DE401D00A58B}" destId="{87845B0F-F4BB-4B44-9656-0B54575FF9F5}" srcOrd="0" destOrd="0" presId="urn:microsoft.com/office/officeart/2005/8/layout/lProcess2"/>
    <dgm:cxn modelId="{E9B8CBE1-9BC8-D140-BFE7-5AF16AA9DC46}" srcId="{E6ABEEA6-857D-2347-88F9-10B48975ED89}" destId="{91B064D8-8099-3E4A-BBAD-AECF88812BA0}" srcOrd="0" destOrd="0" parTransId="{4AC1E238-DF68-F34F-A96F-A758EB69ABE8}" sibTransId="{19AFB7FF-7367-3B4C-A0E6-702860860346}"/>
    <dgm:cxn modelId="{63BEA8E7-F170-CE4D-90F6-D94F9397F1DB}" type="presOf" srcId="{5898BD28-809B-7745-B465-CF7431A866F3}" destId="{336E439F-5EDF-A249-8FC4-2E73238AEEA7}" srcOrd="0" destOrd="0" presId="urn:microsoft.com/office/officeart/2005/8/layout/lProcess2"/>
    <dgm:cxn modelId="{BC7D51FB-AA15-F34D-99D2-771A618598E1}" type="presOf" srcId="{36A9D0E1-10C5-9F41-90B9-5327203DA4B4}" destId="{6EC60B5C-6BF8-A348-B76B-0F5B30DD0DC0}" srcOrd="0" destOrd="0" presId="urn:microsoft.com/office/officeart/2005/8/layout/lProcess2"/>
    <dgm:cxn modelId="{44C3097C-2C32-4C4A-85C1-A89A17EEF6EA}" type="presParOf" srcId="{6C3DFCEC-EF77-7844-9627-2229FD2FC630}" destId="{38531FE0-832E-2645-A088-40776FA3601E}" srcOrd="0" destOrd="0" presId="urn:microsoft.com/office/officeart/2005/8/layout/lProcess2"/>
    <dgm:cxn modelId="{617663EE-6FE2-BA47-98EC-14451A05B5C6}" type="presParOf" srcId="{38531FE0-832E-2645-A088-40776FA3601E}" destId="{87845B0F-F4BB-4B44-9656-0B54575FF9F5}" srcOrd="0" destOrd="0" presId="urn:microsoft.com/office/officeart/2005/8/layout/lProcess2"/>
    <dgm:cxn modelId="{30515542-1EF6-FD4F-8DDE-9581FA83C525}" type="presParOf" srcId="{38531FE0-832E-2645-A088-40776FA3601E}" destId="{9AFBE171-E870-9F4E-848F-9D9E7A040D51}" srcOrd="1" destOrd="0" presId="urn:microsoft.com/office/officeart/2005/8/layout/lProcess2"/>
    <dgm:cxn modelId="{248D9F43-CA93-D041-8063-BD733BD734AE}" type="presParOf" srcId="{38531FE0-832E-2645-A088-40776FA3601E}" destId="{CF10829A-030D-8241-9294-EED8EE220A81}" srcOrd="2" destOrd="0" presId="urn:microsoft.com/office/officeart/2005/8/layout/lProcess2"/>
    <dgm:cxn modelId="{EE52A6DA-B384-704A-83BD-F312C3D69AFB}" type="presParOf" srcId="{CF10829A-030D-8241-9294-EED8EE220A81}" destId="{72E3E21A-A5FA-1B4E-9A9E-5B18F752C873}" srcOrd="0" destOrd="0" presId="urn:microsoft.com/office/officeart/2005/8/layout/lProcess2"/>
    <dgm:cxn modelId="{F34F6B34-B4EB-F84F-BC2C-06BF197D6BF5}" type="presParOf" srcId="{72E3E21A-A5FA-1B4E-9A9E-5B18F752C873}" destId="{336E439F-5EDF-A249-8FC4-2E73238AEEA7}" srcOrd="0" destOrd="0" presId="urn:microsoft.com/office/officeart/2005/8/layout/lProcess2"/>
    <dgm:cxn modelId="{92B42A51-1613-D34B-8E80-E7D5D66F81B3}" type="presParOf" srcId="{6C3DFCEC-EF77-7844-9627-2229FD2FC630}" destId="{45742235-9ECF-464C-846D-C3FFCA701B71}" srcOrd="1" destOrd="0" presId="urn:microsoft.com/office/officeart/2005/8/layout/lProcess2"/>
    <dgm:cxn modelId="{9645C687-9A62-C547-9C87-5EA6EDC4C5A7}" type="presParOf" srcId="{6C3DFCEC-EF77-7844-9627-2229FD2FC630}" destId="{8EAF7C7D-FABF-724B-A0A5-A202482A09B6}" srcOrd="2" destOrd="0" presId="urn:microsoft.com/office/officeart/2005/8/layout/lProcess2"/>
    <dgm:cxn modelId="{7CB7BCD0-3AF1-E943-B880-A553E69E709F}" type="presParOf" srcId="{8EAF7C7D-FABF-724B-A0A5-A202482A09B6}" destId="{6EC60B5C-6BF8-A348-B76B-0F5B30DD0DC0}" srcOrd="0" destOrd="0" presId="urn:microsoft.com/office/officeart/2005/8/layout/lProcess2"/>
    <dgm:cxn modelId="{AF396265-E4E1-9E4D-8A4B-3B4DA0CF43C5}" type="presParOf" srcId="{8EAF7C7D-FABF-724B-A0A5-A202482A09B6}" destId="{606BBB1C-0DAF-E34D-8941-342D1411348C}" srcOrd="1" destOrd="0" presId="urn:microsoft.com/office/officeart/2005/8/layout/lProcess2"/>
    <dgm:cxn modelId="{3A0E7BA2-CB99-6B4A-8451-E3618278F2E5}" type="presParOf" srcId="{8EAF7C7D-FABF-724B-A0A5-A202482A09B6}" destId="{A1367818-9EB8-0148-BB76-AE3926EF5937}" srcOrd="2" destOrd="0" presId="urn:microsoft.com/office/officeart/2005/8/layout/lProcess2"/>
    <dgm:cxn modelId="{3AAE5DAD-60C0-A340-B00F-82F81924F3A3}" type="presParOf" srcId="{A1367818-9EB8-0148-BB76-AE3926EF5937}" destId="{645183DB-5655-3F4E-A15D-66C75E8FF046}" srcOrd="0" destOrd="0" presId="urn:microsoft.com/office/officeart/2005/8/layout/lProcess2"/>
    <dgm:cxn modelId="{397944EC-01AE-9549-AC65-1E4A19C807F9}" type="presParOf" srcId="{645183DB-5655-3F4E-A15D-66C75E8FF046}" destId="{CF04258B-5984-A94F-945D-FDCF5FF1D1A3}" srcOrd="0" destOrd="0" presId="urn:microsoft.com/office/officeart/2005/8/layout/lProcess2"/>
    <dgm:cxn modelId="{BC4B59DB-D37B-694E-AF98-02C51D85F069}" type="presParOf" srcId="{645183DB-5655-3F4E-A15D-66C75E8FF046}" destId="{5AF9FBE4-1ED4-2540-A79E-C457FCDCBE47}" srcOrd="1" destOrd="0" presId="urn:microsoft.com/office/officeart/2005/8/layout/lProcess2"/>
    <dgm:cxn modelId="{F988BBE9-2192-9C41-82C3-9D7471113EEB}" type="presParOf" srcId="{645183DB-5655-3F4E-A15D-66C75E8FF046}" destId="{0EC53C12-5331-F140-B0FE-4B97DD07792C}" srcOrd="2" destOrd="0" presId="urn:microsoft.com/office/officeart/2005/8/layout/lProcess2"/>
    <dgm:cxn modelId="{D6D2D5D8-BF99-D24C-ADB5-7A989DA7483B}" type="presParOf" srcId="{6C3DFCEC-EF77-7844-9627-2229FD2FC630}" destId="{6E2B77E9-995C-7942-94BE-7E96BC65A1CF}" srcOrd="3" destOrd="0" presId="urn:microsoft.com/office/officeart/2005/8/layout/lProcess2"/>
    <dgm:cxn modelId="{EFF6D610-F7D5-5C47-A79F-F4B1AB8EF1EC}" type="presParOf" srcId="{6C3DFCEC-EF77-7844-9627-2229FD2FC630}" destId="{C8AFD5B8-A1A7-F64E-9455-7687A61F7E84}" srcOrd="4" destOrd="0" presId="urn:microsoft.com/office/officeart/2005/8/layout/lProcess2"/>
    <dgm:cxn modelId="{BFDAD516-C7AF-BD46-A77A-1AE7C0F2AEFF}" type="presParOf" srcId="{C8AFD5B8-A1A7-F64E-9455-7687A61F7E84}" destId="{1C745F16-9156-4941-8AEB-38150B794BC5}" srcOrd="0" destOrd="0" presId="urn:microsoft.com/office/officeart/2005/8/layout/lProcess2"/>
    <dgm:cxn modelId="{FBC55931-315D-B246-A24D-D7860E130836}" type="presParOf" srcId="{C8AFD5B8-A1A7-F64E-9455-7687A61F7E84}" destId="{CAC8ED37-FD41-A247-AECA-6FDD0A64B12B}" srcOrd="1" destOrd="0" presId="urn:microsoft.com/office/officeart/2005/8/layout/lProcess2"/>
    <dgm:cxn modelId="{5B59F561-7800-C145-B1BA-48380A8121F4}" type="presParOf" srcId="{C8AFD5B8-A1A7-F64E-9455-7687A61F7E84}" destId="{CD8AAA16-6972-A64A-92DB-C606DD0B0F37}" srcOrd="2" destOrd="0" presId="urn:microsoft.com/office/officeart/2005/8/layout/lProcess2"/>
    <dgm:cxn modelId="{49199A33-3ABA-8540-AF34-29194561E0E9}" type="presParOf" srcId="{CD8AAA16-6972-A64A-92DB-C606DD0B0F37}" destId="{9F28E7F7-01A2-CE47-994B-0417B125131B}" srcOrd="0" destOrd="0" presId="urn:microsoft.com/office/officeart/2005/8/layout/lProcess2"/>
    <dgm:cxn modelId="{9402143D-14FC-E14E-84CA-744715297BDC}" type="presParOf" srcId="{9F28E7F7-01A2-CE47-994B-0417B125131B}" destId="{26F2B194-E30A-E845-BD07-0F29F332C4B9}" srcOrd="0" destOrd="0" presId="urn:microsoft.com/office/officeart/2005/8/layout/lProcess2"/>
    <dgm:cxn modelId="{29BE1174-0BF7-6146-A505-C5EF2E786105}" type="presParOf" srcId="{9F28E7F7-01A2-CE47-994B-0417B125131B}" destId="{62B31520-11AD-784D-8E50-7EA2E1B51222}" srcOrd="1" destOrd="0" presId="urn:microsoft.com/office/officeart/2005/8/layout/lProcess2"/>
    <dgm:cxn modelId="{9FE76FAA-5738-9D42-AF44-D2A10595A4CA}" type="presParOf" srcId="{9F28E7F7-01A2-CE47-994B-0417B125131B}" destId="{CAF79444-711A-BA41-9741-49482280B1D4}" srcOrd="2" destOrd="0" presId="urn:microsoft.com/office/officeart/2005/8/layout/lProcess2"/>
    <dgm:cxn modelId="{D7FB2956-A41B-0045-A683-8375E056C7B8}" type="presParOf" srcId="{6C3DFCEC-EF77-7844-9627-2229FD2FC630}" destId="{5C6517ED-0B4B-7041-9D26-1D06E263B611}" srcOrd="5" destOrd="0" presId="urn:microsoft.com/office/officeart/2005/8/layout/lProcess2"/>
    <dgm:cxn modelId="{47A47BF2-D66D-3749-8F59-21E83C72F822}" type="presParOf" srcId="{6C3DFCEC-EF77-7844-9627-2229FD2FC630}" destId="{CF5D6E20-5258-B84D-A7AC-D939961403DA}" srcOrd="6" destOrd="0" presId="urn:microsoft.com/office/officeart/2005/8/layout/lProcess2"/>
    <dgm:cxn modelId="{54B2F681-EEF6-574D-92BE-B5AA6B9B092D}" type="presParOf" srcId="{CF5D6E20-5258-B84D-A7AC-D939961403DA}" destId="{B62284DD-9106-9D43-BF98-833A659BD5B4}" srcOrd="0" destOrd="0" presId="urn:microsoft.com/office/officeart/2005/8/layout/lProcess2"/>
    <dgm:cxn modelId="{ADBDAC09-9C26-184D-88EB-BACCF374AF31}" type="presParOf" srcId="{CF5D6E20-5258-B84D-A7AC-D939961403DA}" destId="{6225852F-5015-254E-B0AE-6EE12F8018AB}" srcOrd="1" destOrd="0" presId="urn:microsoft.com/office/officeart/2005/8/layout/lProcess2"/>
    <dgm:cxn modelId="{8719CE3D-8C09-DB4C-A385-A8DFB7927347}" type="presParOf" srcId="{CF5D6E20-5258-B84D-A7AC-D939961403DA}" destId="{304B1A5B-CC92-9140-9B83-12D5B688F73A}" srcOrd="2" destOrd="0" presId="urn:microsoft.com/office/officeart/2005/8/layout/lProcess2"/>
    <dgm:cxn modelId="{B8D4BE00-DDAC-FB42-9D4D-E257F3EECB2A}" type="presParOf" srcId="{304B1A5B-CC92-9140-9B83-12D5B688F73A}" destId="{0C1BC706-8167-8F4B-9D4E-D8E23EC2C56C}" srcOrd="0" destOrd="0" presId="urn:microsoft.com/office/officeart/2005/8/layout/lProcess2"/>
    <dgm:cxn modelId="{81F9B334-BED3-C847-B7A5-83E46A580D3C}" type="presParOf" srcId="{0C1BC706-8167-8F4B-9D4E-D8E23EC2C56C}" destId="{AAF50F4F-6B9E-E24F-9606-29EB6F3CF2F6}" srcOrd="0" destOrd="0" presId="urn:microsoft.com/office/officeart/2005/8/layout/lProcess2"/>
    <dgm:cxn modelId="{818A278C-D2AF-354C-986D-C34B0A7FBA50}" type="presParOf" srcId="{0C1BC706-8167-8F4B-9D4E-D8E23EC2C56C}" destId="{C95810C4-D80A-ED49-8504-53BEA4BD5BA6}" srcOrd="1" destOrd="0" presId="urn:microsoft.com/office/officeart/2005/8/layout/lProcess2"/>
    <dgm:cxn modelId="{6C78A7D8-C925-DA41-9F04-E21CBA8BEC1B}" type="presParOf" srcId="{0C1BC706-8167-8F4B-9D4E-D8E23EC2C56C}" destId="{B7A6010A-6E6E-1F4E-8C75-F08FD980FBCA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F9BC79-5AB3-3449-A2AA-ACD32F68028F}">
      <dsp:nvSpPr>
        <dsp:cNvPr id="0" name=""/>
        <dsp:cNvSpPr/>
      </dsp:nvSpPr>
      <dsp:spPr>
        <a:xfrm>
          <a:off x="5831964" y="1108951"/>
          <a:ext cx="2678463" cy="7019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5916"/>
              </a:lnTo>
              <a:lnTo>
                <a:pt x="2678463" y="325916"/>
              </a:lnTo>
              <a:lnTo>
                <a:pt x="2678463" y="7019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2F9CDEA-17C4-6B49-A73F-BA7FD057FE60}">
      <dsp:nvSpPr>
        <dsp:cNvPr id="0" name=""/>
        <dsp:cNvSpPr/>
      </dsp:nvSpPr>
      <dsp:spPr>
        <a:xfrm>
          <a:off x="3153500" y="1108951"/>
          <a:ext cx="2678463" cy="701911"/>
        </a:xfrm>
        <a:custGeom>
          <a:avLst/>
          <a:gdLst/>
          <a:ahLst/>
          <a:cxnLst/>
          <a:rect l="0" t="0" r="0" b="0"/>
          <a:pathLst>
            <a:path>
              <a:moveTo>
                <a:pt x="2678463" y="0"/>
              </a:moveTo>
              <a:lnTo>
                <a:pt x="2678463" y="325916"/>
              </a:lnTo>
              <a:lnTo>
                <a:pt x="0" y="325916"/>
              </a:lnTo>
              <a:lnTo>
                <a:pt x="0" y="7019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661FF3-2CBF-FF4B-A730-D830963C9992}">
      <dsp:nvSpPr>
        <dsp:cNvPr id="0" name=""/>
        <dsp:cNvSpPr/>
      </dsp:nvSpPr>
      <dsp:spPr>
        <a:xfrm>
          <a:off x="3931273" y="40624"/>
          <a:ext cx="3801381" cy="1068327"/>
        </a:xfrm>
        <a:prstGeom prst="rect">
          <a:avLst/>
        </a:prstGeom>
        <a:solidFill>
          <a:srgbClr val="7030A0">
            <a:alpha val="83137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/>
            <a:t>One single FB auction </a:t>
          </a:r>
          <a:br>
            <a:rPr lang="en-GB" sz="2800" kern="1200" dirty="0"/>
          </a:br>
          <a:r>
            <a:rPr lang="en-GB" sz="2800" kern="1200" dirty="0"/>
            <a:t>for all borders of a CCR  </a:t>
          </a:r>
        </a:p>
      </dsp:txBody>
      <dsp:txXfrm>
        <a:off x="3931273" y="40624"/>
        <a:ext cx="3801381" cy="1068327"/>
      </dsp:txXfrm>
    </dsp:sp>
    <dsp:sp modelId="{9BED3EDA-5A01-004A-9D06-721392128D97}">
      <dsp:nvSpPr>
        <dsp:cNvPr id="0" name=""/>
        <dsp:cNvSpPr/>
      </dsp:nvSpPr>
      <dsp:spPr>
        <a:xfrm>
          <a:off x="851031" y="1810862"/>
          <a:ext cx="4604937" cy="1361209"/>
        </a:xfrm>
        <a:prstGeom prst="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kern="1200" dirty="0"/>
            <a:t>Fair access for all</a:t>
          </a:r>
          <a:r>
            <a:rPr lang="en-GB" sz="2400" kern="1200" dirty="0"/>
            <a:t>: borders compete between themselves for capacity / low or no capacity at some borders</a:t>
          </a:r>
        </a:p>
      </dsp:txBody>
      <dsp:txXfrm>
        <a:off x="851031" y="1810862"/>
        <a:ext cx="4604937" cy="1361209"/>
      </dsp:txXfrm>
    </dsp:sp>
    <dsp:sp modelId="{2B9E0AC0-7891-E44C-9C30-7BABFC62B842}">
      <dsp:nvSpPr>
        <dsp:cNvPr id="0" name=""/>
        <dsp:cNvSpPr/>
      </dsp:nvSpPr>
      <dsp:spPr>
        <a:xfrm>
          <a:off x="6207959" y="1810862"/>
          <a:ext cx="4604937" cy="1361209"/>
        </a:xfrm>
        <a:prstGeom prst="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b="1" kern="1200" dirty="0"/>
            <a:t>Best use of capacity</a:t>
          </a:r>
          <a:r>
            <a:rPr lang="en-GB" sz="2400" kern="1200" dirty="0"/>
            <a:t>: very high collateral requirements reduce bidding capacity in simultaneous auction at all borders</a:t>
          </a:r>
        </a:p>
      </dsp:txBody>
      <dsp:txXfrm>
        <a:off x="6207959" y="1810862"/>
        <a:ext cx="4604937" cy="136120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845B0F-F4BB-4B44-9656-0B54575FF9F5}">
      <dsp:nvSpPr>
        <dsp:cNvPr id="0" name=""/>
        <dsp:cNvSpPr/>
      </dsp:nvSpPr>
      <dsp:spPr>
        <a:xfrm>
          <a:off x="2767" y="0"/>
          <a:ext cx="2715338" cy="54102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500" kern="1200" dirty="0"/>
            <a:t>EC</a:t>
          </a:r>
        </a:p>
      </dsp:txBody>
      <dsp:txXfrm>
        <a:off x="2767" y="0"/>
        <a:ext cx="2715338" cy="1623060"/>
      </dsp:txXfrm>
    </dsp:sp>
    <dsp:sp modelId="{336E439F-5EDF-A249-8FC4-2E73238AEEA7}">
      <dsp:nvSpPr>
        <dsp:cNvPr id="0" name=""/>
        <dsp:cNvSpPr/>
      </dsp:nvSpPr>
      <dsp:spPr>
        <a:xfrm>
          <a:off x="274301" y="1623060"/>
          <a:ext cx="2172271" cy="351663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38100" rIns="508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includes in impact assessment a study on: 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GB" sz="2000" kern="1200" dirty="0"/>
            <a:t>- the full benefits of LT FBA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n-GB" sz="2000" kern="1200" dirty="0"/>
            <a:t>- compatibility with future design options</a:t>
          </a:r>
        </a:p>
      </dsp:txBody>
      <dsp:txXfrm>
        <a:off x="337925" y="1686684"/>
        <a:ext cx="2045023" cy="3389382"/>
      </dsp:txXfrm>
    </dsp:sp>
    <dsp:sp modelId="{6EC60B5C-6BF8-A348-B76B-0F5B30DD0DC0}">
      <dsp:nvSpPr>
        <dsp:cNvPr id="0" name=""/>
        <dsp:cNvSpPr/>
      </dsp:nvSpPr>
      <dsp:spPr>
        <a:xfrm>
          <a:off x="2921756" y="0"/>
          <a:ext cx="2715338" cy="54102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500" kern="1200" dirty="0"/>
            <a:t>ACER</a:t>
          </a:r>
        </a:p>
      </dsp:txBody>
      <dsp:txXfrm>
        <a:off x="2921756" y="0"/>
        <a:ext cx="2715338" cy="1623060"/>
      </dsp:txXfrm>
    </dsp:sp>
    <dsp:sp modelId="{CF04258B-5984-A94F-945D-FDCF5FF1D1A3}">
      <dsp:nvSpPr>
        <dsp:cNvPr id="0" name=""/>
        <dsp:cNvSpPr/>
      </dsp:nvSpPr>
      <dsp:spPr>
        <a:xfrm>
          <a:off x="3193290" y="1624645"/>
          <a:ext cx="2172271" cy="16312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shares data and hypothesis from original 2021 simulations on auction surplus</a:t>
          </a:r>
        </a:p>
      </dsp:txBody>
      <dsp:txXfrm>
        <a:off x="3241068" y="1672423"/>
        <a:ext cx="2076715" cy="1535693"/>
      </dsp:txXfrm>
    </dsp:sp>
    <dsp:sp modelId="{0EC53C12-5331-F140-B0FE-4B97DD07792C}">
      <dsp:nvSpPr>
        <dsp:cNvPr id="0" name=""/>
        <dsp:cNvSpPr/>
      </dsp:nvSpPr>
      <dsp:spPr>
        <a:xfrm>
          <a:off x="3193290" y="3506855"/>
          <a:ext cx="2172271" cy="16312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sets new deadline for LT FBA </a:t>
          </a:r>
          <a:r>
            <a:rPr lang="en-GB" sz="1600" kern="1200" dirty="0">
              <a:solidFill>
                <a:schemeClr val="bg1"/>
              </a:solidFill>
            </a:rPr>
            <a:t>go-live, considering EC’s IA potential outcomes and necessary progress </a:t>
          </a:r>
          <a:r>
            <a:rPr lang="en-GB" sz="1600" kern="1200" dirty="0"/>
            <a:t>on mitigation measures</a:t>
          </a:r>
        </a:p>
      </dsp:txBody>
      <dsp:txXfrm>
        <a:off x="3241068" y="3554633"/>
        <a:ext cx="2076715" cy="1535693"/>
      </dsp:txXfrm>
    </dsp:sp>
    <dsp:sp modelId="{1C745F16-9156-4941-8AEB-38150B794BC5}">
      <dsp:nvSpPr>
        <dsp:cNvPr id="0" name=""/>
        <dsp:cNvSpPr/>
      </dsp:nvSpPr>
      <dsp:spPr>
        <a:xfrm>
          <a:off x="5840745" y="0"/>
          <a:ext cx="2715338" cy="54102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500" kern="1200" dirty="0"/>
            <a:t>TSOs</a:t>
          </a:r>
        </a:p>
      </dsp:txBody>
      <dsp:txXfrm>
        <a:off x="5840745" y="0"/>
        <a:ext cx="2715338" cy="1623060"/>
      </dsp:txXfrm>
    </dsp:sp>
    <dsp:sp modelId="{26F2B194-E30A-E845-BD07-0F29F332C4B9}">
      <dsp:nvSpPr>
        <dsp:cNvPr id="0" name=""/>
        <dsp:cNvSpPr/>
      </dsp:nvSpPr>
      <dsp:spPr>
        <a:xfrm>
          <a:off x="6112279" y="1624645"/>
          <a:ext cx="2172271" cy="16312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shares data and hypothesis from 2023 and 2024 simulations on allocated volumes</a:t>
          </a:r>
        </a:p>
      </dsp:txBody>
      <dsp:txXfrm>
        <a:off x="6160057" y="1672423"/>
        <a:ext cx="2076715" cy="1535693"/>
      </dsp:txXfrm>
    </dsp:sp>
    <dsp:sp modelId="{CAF79444-711A-BA41-9741-49482280B1D4}">
      <dsp:nvSpPr>
        <dsp:cNvPr id="0" name=""/>
        <dsp:cNvSpPr/>
      </dsp:nvSpPr>
      <dsp:spPr>
        <a:xfrm>
          <a:off x="6112279" y="3506855"/>
          <a:ext cx="2172271" cy="16312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020" tIns="24765" rIns="33020" bIns="24765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 dirty="0"/>
            <a:t>works on mitigation measures for: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en-GB" sz="13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- ensure better availability of LT capacity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GB" sz="1300" kern="1200" dirty="0"/>
            <a:t>- access to min LTTR volumes at all borders</a:t>
          </a:r>
          <a:br>
            <a:rPr lang="en-GB" sz="1300" kern="1200" dirty="0"/>
          </a:br>
          <a:r>
            <a:rPr lang="en-GB" sz="1300" kern="1200" dirty="0"/>
            <a:t>- collateral easing</a:t>
          </a:r>
        </a:p>
      </dsp:txBody>
      <dsp:txXfrm>
        <a:off x="6160057" y="3554633"/>
        <a:ext cx="2076715" cy="1535693"/>
      </dsp:txXfrm>
    </dsp:sp>
    <dsp:sp modelId="{B62284DD-9106-9D43-BF98-833A659BD5B4}">
      <dsp:nvSpPr>
        <dsp:cNvPr id="0" name=""/>
        <dsp:cNvSpPr/>
      </dsp:nvSpPr>
      <dsp:spPr>
        <a:xfrm>
          <a:off x="8759734" y="0"/>
          <a:ext cx="2715338" cy="54102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500" kern="1200" dirty="0"/>
            <a:t>MPs</a:t>
          </a:r>
        </a:p>
      </dsp:txBody>
      <dsp:txXfrm>
        <a:off x="8759734" y="0"/>
        <a:ext cx="2715338" cy="1623060"/>
      </dsp:txXfrm>
    </dsp:sp>
    <dsp:sp modelId="{AAF50F4F-6B9E-E24F-9606-29EB6F3CF2F6}">
      <dsp:nvSpPr>
        <dsp:cNvPr id="0" name=""/>
        <dsp:cNvSpPr/>
      </dsp:nvSpPr>
      <dsp:spPr>
        <a:xfrm>
          <a:off x="9031268" y="1624645"/>
          <a:ext cx="2172271" cy="16312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shares data and hypothesis from 2024 simulations on </a:t>
          </a:r>
          <a:r>
            <a:rPr lang="en-GB" sz="1600" kern="1200" dirty="0" err="1"/>
            <a:t>minRAMs</a:t>
          </a:r>
          <a:endParaRPr lang="en-GB" sz="1600" kern="1200" dirty="0"/>
        </a:p>
      </dsp:txBody>
      <dsp:txXfrm>
        <a:off x="9079046" y="1672423"/>
        <a:ext cx="2076715" cy="1535693"/>
      </dsp:txXfrm>
    </dsp:sp>
    <dsp:sp modelId="{B7A6010A-6E6E-1F4E-8C75-F08FD980FBCA}">
      <dsp:nvSpPr>
        <dsp:cNvPr id="0" name=""/>
        <dsp:cNvSpPr/>
      </dsp:nvSpPr>
      <dsp:spPr>
        <a:xfrm>
          <a:off x="9031268" y="3506855"/>
          <a:ext cx="2172271" cy="16312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inputs on: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/>
            <a:t>- EC work on LT FBA value</a:t>
          </a:r>
          <a:br>
            <a:rPr lang="en-GB" sz="1600" kern="1200" dirty="0"/>
          </a:br>
          <a:r>
            <a:rPr lang="en-GB" sz="1600" kern="1200" dirty="0"/>
            <a:t>- TSOs work on min mitigation measures</a:t>
          </a:r>
        </a:p>
      </dsp:txBody>
      <dsp:txXfrm>
        <a:off x="9079046" y="3554633"/>
        <a:ext cx="2076715" cy="15356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647A43-89ED-4612-93FD-E767137EB174}" type="datetimeFigureOut">
              <a:rPr lang="fr-FR" smtClean="0"/>
              <a:t>24/09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D49C17-57D6-4F54-97B7-0246F1C93CC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847707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E6A071-107C-4C2F-9968-0AE7A174273C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95572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7527F-B04E-44BB-B0FE-91B4FEFDCD09}" type="slidenum">
              <a:rPr lang="en-BE" smtClean="0"/>
              <a:t>2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6234685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7527F-B04E-44BB-B0FE-91B4FEFDCD09}" type="slidenum">
              <a:rPr lang="en-BE" smtClean="0"/>
              <a:t>3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2740492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47527F-B04E-44BB-B0FE-91B4FEFDCD09}" type="slidenum">
              <a:rPr lang="en-BE" smtClean="0"/>
              <a:t>4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3199755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13E51CB-B3F7-D780-89CD-799EF69CE3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A458514-FA50-8837-047C-61301405ED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278700F-CD3A-179B-4387-60116635C8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AB2C06-85CA-4CF1-8FA8-CC8A3FD6D6E1}" type="datetimeFigureOut">
              <a:rPr lang="fr-FR" smtClean="0"/>
              <a:t>24/09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C5C0E05-3976-E660-955C-EE4AC11D7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29EB934-69F5-C656-E3D2-1CF7E89646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A11D4-6C9C-4935-8FF6-3CB9EC32AB1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644121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D3E2A4F-5982-0597-A5B1-1E7B7D523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C96E1A97-5B58-FE92-0287-32306D3F53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D6A004E-ABBC-8838-FFE2-FC2D894452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AB2C06-85CA-4CF1-8FA8-CC8A3FD6D6E1}" type="datetimeFigureOut">
              <a:rPr lang="fr-FR" smtClean="0"/>
              <a:t>24/09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15DEEB2-BC47-9872-9BEE-FFF34AB175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479DB9B-E7BE-F9AF-316A-85341A8B3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A11D4-6C9C-4935-8FF6-3CB9EC32AB1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681472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7429CCE8-FE55-0287-8443-207747F6DD8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8C647828-DF29-93BD-40B4-8621735CB2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FE831B4-4717-9AA6-DE4C-231465C449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AB2C06-85CA-4CF1-8FA8-CC8A3FD6D6E1}" type="datetimeFigureOut">
              <a:rPr lang="fr-FR" smtClean="0"/>
              <a:t>24/09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8CE9A0F-70DC-C2DB-E0DE-05FC93198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CAD3016-5144-F918-D5D8-12418FA94D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A11D4-6C9C-4935-8FF6-3CB9EC32AB1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26043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2FDBA90-0D77-8F23-C527-44D8419B2F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6FC6EB5-84AD-8784-C1C8-2DFD573774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A7C088-C943-6E61-4A40-83330FF30C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AB2C06-85CA-4CF1-8FA8-CC8A3FD6D6E1}" type="datetimeFigureOut">
              <a:rPr lang="fr-FR" smtClean="0"/>
              <a:t>24/09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CB1E3DD-68E3-FE25-2B13-3FF1CD8EE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F8E2272-DB68-EE10-3EF9-0E3ED3DA3B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A11D4-6C9C-4935-8FF6-3CB9EC32AB1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412712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6C55AF7-CADA-B93F-2559-22BA18CF3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9C72D5F-6711-8AC4-2120-8516A874A3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962B10E-8E88-E8A9-ADAB-945156C34E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AB2C06-85CA-4CF1-8FA8-CC8A3FD6D6E1}" type="datetimeFigureOut">
              <a:rPr lang="fr-FR" smtClean="0"/>
              <a:t>24/09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3AF371B-6053-3C05-6261-92EE8702F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49E63C9-645A-BC2F-D476-306C76578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A11D4-6C9C-4935-8FF6-3CB9EC32AB1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00258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2D8A2C4-67F7-5BCE-5AB0-227880382F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6343A37-F4CB-9D43-34DE-EE4889F33FA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D31493AB-C484-02EC-FE43-1887116CDB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8ADC05BB-0EC6-FFF2-0971-728F2007FD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AB2C06-85CA-4CF1-8FA8-CC8A3FD6D6E1}" type="datetimeFigureOut">
              <a:rPr lang="fr-FR" smtClean="0"/>
              <a:t>24/09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00C5C6A-D833-10F9-AF8A-73CE20BA30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BDB87E0-D539-58E6-49BA-11821AB6F3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A11D4-6C9C-4935-8FF6-3CB9EC32AB1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98907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3A14987-D004-E52E-F390-370787CE8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7BEAF46-2827-8931-8963-ECBD5E4558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52F00F16-2B0B-5B61-7558-BDB80DB4E8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F912D1A-B864-3A9A-FCB4-9A2BAA4985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280E787F-2921-0D79-A82C-2F4E364407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3860567D-2EE9-EA2A-1BA3-BB1D9F9D58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AB2C06-85CA-4CF1-8FA8-CC8A3FD6D6E1}" type="datetimeFigureOut">
              <a:rPr lang="fr-FR" smtClean="0"/>
              <a:t>24/09/2024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779411E8-6ABC-066D-A6E0-6BF087BCB9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AB7598F7-D3FE-43D3-8CBE-FFD00E9DD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A11D4-6C9C-4935-8FF6-3CB9EC32AB1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15827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734498B-6460-C388-0B6B-FC4A4D178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EF4D55D-C211-6ECC-BDE2-08F3AF6275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AB2C06-85CA-4CF1-8FA8-CC8A3FD6D6E1}" type="datetimeFigureOut">
              <a:rPr lang="fr-FR" smtClean="0"/>
              <a:t>24/09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8B84EAA-3B3F-1DC9-0E12-67EC99A944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93CDDDF-FC51-E5AD-1B91-DBCCBE002A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A11D4-6C9C-4935-8FF6-3CB9EC32AB1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27423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1B3684A9-99AB-77B2-818A-8EA132C5F5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AB2C06-85CA-4CF1-8FA8-CC8A3FD6D6E1}" type="datetimeFigureOut">
              <a:rPr lang="fr-FR" smtClean="0"/>
              <a:t>24/09/2024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4E43ABC-A4E7-BC00-F4D0-FA33F44A5B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EF78966-9AB9-05DD-F868-E137736F8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A11D4-6C9C-4935-8FF6-3CB9EC32AB1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849840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7910FC-AC5B-7887-558C-6ACE21DC8C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BE9106B-8123-4EA4-1DD1-A0EE2FCA56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8C7B4BB-3915-9367-0D94-3F5BFEF359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87141D19-9894-F370-1ADA-9F6C76D4A8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AB2C06-85CA-4CF1-8FA8-CC8A3FD6D6E1}" type="datetimeFigureOut">
              <a:rPr lang="fr-FR" smtClean="0"/>
              <a:t>24/09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B8F48A3F-9F5E-FEE8-2694-433491FE57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16AEE37-CBB3-B0BF-FB02-566AA96803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A11D4-6C9C-4935-8FF6-3CB9EC32AB1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6918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58FA447-4205-E1ED-6DCA-AA7A93BF4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ECCB799C-5184-C665-C5D5-452B12CC239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0A9867-BADC-4CEB-35CA-C24D904AB7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90DB971-B618-56ED-5356-78F254386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AB2C06-85CA-4CF1-8FA8-CC8A3FD6D6E1}" type="datetimeFigureOut">
              <a:rPr lang="fr-FR" smtClean="0"/>
              <a:t>24/09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8768F728-A51E-48C6-AF25-8CCFEA102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10B09A3-CF4F-5015-5861-1CDD3356D7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A11D4-6C9C-4935-8FF6-3CB9EC32AB1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01011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90AF1748-CF79-1950-0E2D-864DEB3B64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12FEB32-2895-BA7A-B22D-3559B21E5E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DA948E9-A95E-ED51-1064-27C90FEAE1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AB2C06-85CA-4CF1-8FA8-CC8A3FD6D6E1}" type="datetimeFigureOut">
              <a:rPr lang="fr-FR" smtClean="0"/>
              <a:t>24/09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CC9552A-0DB3-BC1D-D39E-D2CC9DE6B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B852A5-A14B-C573-1A4F-AD79F82900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4A11D4-6C9C-4935-8FF6-3CB9EC32AB17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1909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2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diagramData" Target="../diagrams/data1.xml"/><Relationship Id="rId5" Type="http://schemas.openxmlformats.org/officeDocument/2006/relationships/image" Target="../media/image3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.bin"/><Relationship Id="rId9" Type="http://schemas.openxmlformats.org/officeDocument/2006/relationships/diagramColors" Target="../diagrams/colors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3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diagramData" Target="../diagrams/data2.xml"/><Relationship Id="rId5" Type="http://schemas.openxmlformats.org/officeDocument/2006/relationships/image" Target="../media/image3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1.bin"/><Relationship Id="rId9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89D36A-0C4F-5A49-BF7F-3CCA63E848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0963" y="2894119"/>
            <a:ext cx="11054282" cy="2013700"/>
          </a:xfrm>
        </p:spPr>
        <p:txBody>
          <a:bodyPr>
            <a:normAutofit fontScale="90000"/>
          </a:bodyPr>
          <a:lstStyle/>
          <a:p>
            <a:pPr algn="l"/>
            <a:r>
              <a:rPr lang="en-US" sz="4000" dirty="0">
                <a:solidFill>
                  <a:srgbClr val="2C63FF"/>
                </a:solidFill>
                <a:latin typeface="+mn-lt"/>
              </a:rPr>
              <a:t>The way forward for the allocation of LTTRs </a:t>
            </a:r>
            <a:br>
              <a:rPr lang="en-US" sz="4000" dirty="0">
                <a:solidFill>
                  <a:srgbClr val="2C63FF"/>
                </a:solidFill>
                <a:latin typeface="+mn-lt"/>
              </a:rPr>
            </a:br>
            <a:r>
              <a:rPr lang="en-US" sz="4000" dirty="0">
                <a:solidFill>
                  <a:srgbClr val="2C63FF"/>
                </a:solidFill>
                <a:latin typeface="+mn-lt"/>
              </a:rPr>
              <a:t>– reflections from the market</a:t>
            </a:r>
            <a:br>
              <a:rPr lang="en-GB" sz="4000" dirty="0">
                <a:solidFill>
                  <a:srgbClr val="2C63FF"/>
                </a:solidFill>
                <a:latin typeface="+mn-lt"/>
              </a:rPr>
            </a:br>
            <a:br>
              <a:rPr lang="en-GB" sz="4000" dirty="0">
                <a:solidFill>
                  <a:srgbClr val="2C63FF"/>
                </a:solidFill>
                <a:latin typeface="+mn-lt"/>
              </a:rPr>
            </a:br>
            <a:r>
              <a:rPr lang="en-GB" sz="2800" dirty="0">
                <a:solidFill>
                  <a:srgbClr val="C00000"/>
                </a:solidFill>
                <a:latin typeface="+mn-lt"/>
              </a:rPr>
              <a:t>MESC – 8 October 2024</a:t>
            </a:r>
            <a:endParaRPr lang="aa-ET" sz="4000" b="1" dirty="0">
              <a:solidFill>
                <a:srgbClr val="C00000"/>
              </a:solidFill>
              <a:latin typeface="+mn-lt"/>
            </a:endParaRPr>
          </a:p>
        </p:txBody>
      </p:sp>
      <p:pic>
        <p:nvPicPr>
          <p:cNvPr id="5" name="Picture 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EFF2DD9-65A7-044E-8145-69C3431A3C2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373" y="740969"/>
            <a:ext cx="3778490" cy="1209213"/>
          </a:xfrm>
          <a:prstGeom prst="rect">
            <a:avLst/>
          </a:prstGeom>
          <a:noFill/>
        </p:spPr>
      </p:pic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A5CAF1-BF11-6149-B88E-767955227975}" type="slidenum">
              <a:rPr lang="aa-ET" smtClean="0"/>
              <a:t>1</a:t>
            </a:fld>
            <a:endParaRPr lang="aa-ET"/>
          </a:p>
        </p:txBody>
      </p:sp>
      <p:pic>
        <p:nvPicPr>
          <p:cNvPr id="8" name="Picture 7" descr="A logo with text on it&#10;&#10;Description automatically generated">
            <a:extLst>
              <a:ext uri="{FF2B5EF4-FFF2-40B4-BE49-F238E27FC236}">
                <a16:creationId xmlns:a16="http://schemas.microsoft.com/office/drawing/2014/main" id="{08B3BFC1-54CC-9288-8151-341C5F6EB6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4086" y="450324"/>
            <a:ext cx="3394841" cy="1790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5554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1A687D6-29F6-462D-9F89-CE708F9F1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1A687D6-29F6-462D-9F89-CE708F9F1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4265E80C-67BC-44A3-B313-93D976561D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br>
              <a:rPr lang="nl-NL" sz="3200"/>
            </a:br>
            <a:endParaRPr lang="nl-NL" sz="320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66509" y="202019"/>
            <a:ext cx="11258982" cy="13082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3500" b="1" dirty="0">
                <a:solidFill>
                  <a:srgbClr val="0000FF"/>
                </a:solidFill>
                <a:latin typeface="Qanelas" panose="00000500000000000000" pitchFamily="50" charset="0"/>
                <a:ea typeface="+mj-ea"/>
                <a:cs typeface="+mj-cs"/>
              </a:rPr>
              <a:t>Reminder of the main concerns of market participants with flow-based allocation of LTTRs</a:t>
            </a:r>
            <a:endParaRPr lang="en-GB" sz="3200" b="1" dirty="0">
              <a:solidFill>
                <a:srgbClr val="00B0F0"/>
              </a:solidFill>
              <a:latin typeface="Qanelas" panose="00000500000000000000" pitchFamily="50" charset="0"/>
              <a:ea typeface="+mj-ea"/>
              <a:cs typeface="+mj-cs"/>
            </a:endParaRP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B8FE4605-B798-0503-394D-0E6EAD8FE8F5}"/>
              </a:ext>
            </a:extLst>
          </p:cNvPr>
          <p:cNvSpPr txBox="1">
            <a:spLocks/>
          </p:cNvSpPr>
          <p:nvPr/>
        </p:nvSpPr>
        <p:spPr>
          <a:xfrm>
            <a:off x="838200" y="631031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B4B46A78-6AF9-412C-AE9C-E98B1C607C25}" type="slidenum">
              <a:rPr lang="es-ES" sz="1800" smtClean="0">
                <a:solidFill>
                  <a:srgbClr val="414042"/>
                </a:solidFill>
                <a:latin typeface="Calibri"/>
              </a:rPr>
              <a:pPr algn="l">
                <a:defRPr/>
              </a:pPr>
              <a:t>2</a:t>
            </a:fld>
            <a:endParaRPr lang="es-ES" sz="1800" dirty="0">
              <a:solidFill>
                <a:srgbClr val="414042"/>
              </a:solidFill>
              <a:latin typeface="Calibri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DC2CDA8-B6AC-2330-E2BD-AAAF5C607BDE}"/>
              </a:ext>
            </a:extLst>
          </p:cNvPr>
          <p:cNvGrpSpPr/>
          <p:nvPr/>
        </p:nvGrpSpPr>
        <p:grpSpPr>
          <a:xfrm>
            <a:off x="264036" y="1735550"/>
            <a:ext cx="11663928" cy="4480902"/>
            <a:chOff x="264036" y="1735550"/>
            <a:chExt cx="11663928" cy="4480902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DF86FE09-2F95-7D4D-3725-D6C11DD5B369}"/>
                </a:ext>
              </a:extLst>
            </p:cNvPr>
            <p:cNvGrpSpPr/>
            <p:nvPr/>
          </p:nvGrpSpPr>
          <p:grpSpPr>
            <a:xfrm>
              <a:off x="264036" y="1735550"/>
              <a:ext cx="11663928" cy="4480902"/>
              <a:chOff x="264036" y="1735550"/>
              <a:chExt cx="11663928" cy="4480902"/>
            </a:xfrm>
          </p:grpSpPr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643C3B14-8A94-6E71-16A5-1686C5D214FC}"/>
                  </a:ext>
                </a:extLst>
              </p:cNvPr>
              <p:cNvCxnSpPr>
                <a:cxnSpLocks/>
                <a:stCxn id="10" idx="2"/>
              </p:cNvCxnSpPr>
              <p:nvPr/>
            </p:nvCxnSpPr>
            <p:spPr>
              <a:xfrm>
                <a:off x="6112012" y="2794295"/>
                <a:ext cx="0" cy="48230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aphicFrame>
            <p:nvGraphicFramePr>
              <p:cNvPr id="3" name="Diagram 2">
                <a:extLst>
                  <a:ext uri="{FF2B5EF4-FFF2-40B4-BE49-F238E27FC236}">
                    <a16:creationId xmlns:a16="http://schemas.microsoft.com/office/drawing/2014/main" id="{38789229-A72C-A9F0-8C77-CC719C741D03}"/>
                  </a:ext>
                </a:extLst>
              </p:cNvPr>
              <p:cNvGraphicFramePr/>
              <p:nvPr/>
            </p:nvGraphicFramePr>
            <p:xfrm>
              <a:off x="264036" y="3034748"/>
              <a:ext cx="11663928" cy="3181704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6" r:lo="rId7" r:qs="rId8" r:cs="rId9"/>
              </a:graphicData>
            </a:graphic>
          </p:graphicFrame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9016124B-F5AC-5A34-91C1-8181C60CC4A2}"/>
                  </a:ext>
                </a:extLst>
              </p:cNvPr>
              <p:cNvSpPr txBox="1"/>
              <p:nvPr/>
            </p:nvSpPr>
            <p:spPr>
              <a:xfrm>
                <a:off x="921024" y="1735550"/>
                <a:ext cx="10381975" cy="1058745"/>
              </a:xfrm>
              <a:prstGeom prst="rect">
                <a:avLst/>
              </a:prstGeom>
              <a:solidFill>
                <a:schemeClr val="accent3">
                  <a:lumMod val="75000"/>
                  <a:alpha val="83137"/>
                </a:schemeClr>
              </a:solidFill>
              <a:ln w="12700" cap="flat" cmpd="sng" algn="ctr">
                <a:solidFill>
                  <a:prstClr val="white">
                    <a:hueOff val="0"/>
                    <a:satOff val="0"/>
                    <a:lumOff val="0"/>
                    <a:alphaOff val="0"/>
                  </a:prstClr>
                </a:solidFill>
                <a:prstDash val="solid"/>
                <a:miter lim="800000"/>
              </a:ln>
              <a:effectLst/>
            </p:spPr>
            <p:txBody>
              <a:bodyPr spcFirstLastPara="0" vert="horz" wrap="square" lIns="15240" tIns="15240" rIns="15240" bIns="15240" numCol="1" spcCol="1270" anchor="ctr" anchorCtr="0">
                <a:noAutofit/>
              </a:bodyPr>
              <a:lstStyle>
                <a:lvl1pPr>
                  <a:defRPr sz="2400"/>
                </a:lvl1pPr>
              </a:lstStyle>
              <a:p>
                <a:pPr algn="ctr"/>
                <a:r>
                  <a:rPr lang="en-GB" sz="2400" b="1" dirty="0">
                    <a:solidFill>
                      <a:schemeClr val="bg1"/>
                    </a:solidFill>
                  </a:rPr>
                  <a:t>Economic efficiency gain</a:t>
                </a:r>
                <a:r>
                  <a:rPr lang="en-GB" sz="2400" dirty="0">
                    <a:solidFill>
                      <a:schemeClr val="bg1"/>
                    </a:solidFill>
                  </a:rPr>
                  <a:t>: FB </a:t>
                </a:r>
                <a:r>
                  <a:rPr lang="en-GB" dirty="0">
                    <a:solidFill>
                      <a:schemeClr val="bg1"/>
                    </a:solidFill>
                  </a:rPr>
                  <a:t>auction </a:t>
                </a:r>
                <a:r>
                  <a:rPr lang="en-GB" sz="2400" dirty="0">
                    <a:solidFill>
                      <a:schemeClr val="bg1"/>
                    </a:solidFill>
                  </a:rPr>
                  <a:t>surplus has been shown, but not the gain in economic efficiency – considering complexity and further externalities/reform</a:t>
                </a:r>
              </a:p>
            </p:txBody>
          </p:sp>
        </p:grp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82C34EC1-AED2-D779-AC89-8A4957DFBD72}"/>
                </a:ext>
              </a:extLst>
            </p:cNvPr>
            <p:cNvSpPr>
              <a:spLocks/>
            </p:cNvSpPr>
            <p:nvPr/>
          </p:nvSpPr>
          <p:spPr>
            <a:xfrm>
              <a:off x="427400" y="1931141"/>
              <a:ext cx="720000" cy="720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3600" b="1" dirty="0"/>
                <a:t>1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3A1ECB55-9314-E872-40B7-A36D4CAE9FDB}"/>
                </a:ext>
              </a:extLst>
            </p:cNvPr>
            <p:cNvSpPr>
              <a:spLocks/>
            </p:cNvSpPr>
            <p:nvPr/>
          </p:nvSpPr>
          <p:spPr>
            <a:xfrm>
              <a:off x="487017" y="5104632"/>
              <a:ext cx="720000" cy="720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3600" b="1" dirty="0"/>
                <a:t>2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F6F849B-CB36-D193-A403-7D060C2E5CF5}"/>
                </a:ext>
              </a:extLst>
            </p:cNvPr>
            <p:cNvSpPr>
              <a:spLocks/>
            </p:cNvSpPr>
            <p:nvPr/>
          </p:nvSpPr>
          <p:spPr>
            <a:xfrm>
              <a:off x="10938599" y="5104632"/>
              <a:ext cx="720000" cy="720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3600" b="1" dirty="0"/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88671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1A687D6-29F6-462D-9F89-CE708F9F1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1A687D6-29F6-462D-9F89-CE708F9F1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4265E80C-67BC-44A3-B313-93D976561D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br>
              <a:rPr lang="nl-NL" sz="3200"/>
            </a:br>
            <a:endParaRPr lang="nl-NL" sz="320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C61F789-2378-40C5-87A9-9C5381754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10312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B46A78-6AF9-412C-AE9C-E98B1C607C25}" type="slidenum">
              <a:rPr kumimoji="0" lang="es-ES" sz="18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CF647AB0-B005-6072-B7BA-0C6CAEE1D920}"/>
              </a:ext>
            </a:extLst>
          </p:cNvPr>
          <p:cNvSpPr txBox="1">
            <a:spLocks/>
          </p:cNvSpPr>
          <p:nvPr/>
        </p:nvSpPr>
        <p:spPr>
          <a:xfrm>
            <a:off x="466509" y="202019"/>
            <a:ext cx="11258982" cy="13082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3500" b="1" dirty="0">
                <a:solidFill>
                  <a:srgbClr val="0000FF"/>
                </a:solidFill>
                <a:latin typeface="Qanelas" panose="00000500000000000000" pitchFamily="50" charset="0"/>
                <a:ea typeface="+mj-ea"/>
                <a:cs typeface="+mj-cs"/>
              </a:rPr>
              <a:t>What we suggested in March 2024 </a:t>
            </a:r>
            <a:endParaRPr lang="en-GB" sz="3200" b="1" dirty="0">
              <a:solidFill>
                <a:srgbClr val="00B0F0"/>
              </a:solidFill>
              <a:latin typeface="Qanelas" panose="00000500000000000000" pitchFamily="50" charset="0"/>
              <a:ea typeface="+mj-ea"/>
              <a:cs typeface="+mj-cs"/>
            </a:endParaRPr>
          </a:p>
        </p:txBody>
      </p:sp>
      <p:graphicFrame>
        <p:nvGraphicFramePr>
          <p:cNvPr id="21" name="Diagram 20">
            <a:extLst>
              <a:ext uri="{FF2B5EF4-FFF2-40B4-BE49-F238E27FC236}">
                <a16:creationId xmlns:a16="http://schemas.microsoft.com/office/drawing/2014/main" id="{885E6B0F-E65C-EB46-B9EB-7034B171FC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3617718"/>
              </p:ext>
            </p:extLst>
          </p:nvPr>
        </p:nvGraphicFramePr>
        <p:xfrm>
          <a:off x="466508" y="900112"/>
          <a:ext cx="11477841" cy="5410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75B1FB4C-CBB7-2B7C-E1F9-1CC910BADB0F}"/>
              </a:ext>
            </a:extLst>
          </p:cNvPr>
          <p:cNvSpPr txBox="1"/>
          <p:nvPr/>
        </p:nvSpPr>
        <p:spPr>
          <a:xfrm>
            <a:off x="1000126" y="5986460"/>
            <a:ext cx="18716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April </a:t>
            </a:r>
            <a:r>
              <a:rPr lang="fr-FR" sz="1600" dirty="0">
                <a:solidFill>
                  <a:schemeClr val="accent2">
                    <a:lumMod val="75000"/>
                  </a:schemeClr>
                </a:solidFill>
                <a:sym typeface="Wingdings" pitchFamily="2" charset="2"/>
              </a:rPr>
              <a:t></a:t>
            </a:r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 Nov. 202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2646129-323B-82F2-2F48-7EDEF68727C3}"/>
              </a:ext>
            </a:extLst>
          </p:cNvPr>
          <p:cNvSpPr txBox="1"/>
          <p:nvPr/>
        </p:nvSpPr>
        <p:spPr>
          <a:xfrm>
            <a:off x="3683793" y="6000916"/>
            <a:ext cx="21431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>
                <a:solidFill>
                  <a:schemeClr val="accent2">
                    <a:lumMod val="75000"/>
                  </a:schemeClr>
                </a:solidFill>
              </a:rPr>
              <a:t>now + check in 2025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4E661B-CBF6-4D04-0BF1-FDAD1634A2F4}"/>
              </a:ext>
            </a:extLst>
          </p:cNvPr>
          <p:cNvSpPr txBox="1"/>
          <p:nvPr/>
        </p:nvSpPr>
        <p:spPr>
          <a:xfrm>
            <a:off x="6753226" y="6000916"/>
            <a:ext cx="18716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now </a:t>
            </a:r>
            <a:r>
              <a:rPr lang="fr-FR" sz="1600" dirty="0">
                <a:solidFill>
                  <a:schemeClr val="accent2">
                    <a:lumMod val="75000"/>
                  </a:schemeClr>
                </a:solidFill>
                <a:sym typeface="Wingdings" pitchFamily="2" charset="2"/>
              </a:rPr>
              <a:t></a:t>
            </a:r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 Nov. 2025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24DD97D-1003-3EDE-0449-334910503529}"/>
              </a:ext>
            </a:extLst>
          </p:cNvPr>
          <p:cNvSpPr txBox="1"/>
          <p:nvPr/>
        </p:nvSpPr>
        <p:spPr>
          <a:xfrm>
            <a:off x="9705973" y="5992812"/>
            <a:ext cx="18716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now </a:t>
            </a:r>
            <a:r>
              <a:rPr lang="fr-FR" sz="1600" dirty="0">
                <a:solidFill>
                  <a:schemeClr val="accent2">
                    <a:lumMod val="75000"/>
                  </a:schemeClr>
                </a:solidFill>
                <a:sym typeface="Wingdings" pitchFamily="2" charset="2"/>
              </a:rPr>
              <a:t></a:t>
            </a:r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 Nov. 2025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B4F1385-9BB2-C2D4-C1DA-5128109E6E17}"/>
              </a:ext>
            </a:extLst>
          </p:cNvPr>
          <p:cNvSpPr txBox="1"/>
          <p:nvPr/>
        </p:nvSpPr>
        <p:spPr>
          <a:xfrm>
            <a:off x="3743326" y="4089567"/>
            <a:ext cx="18716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now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63D1A32-582E-2536-DCBA-810404928FBB}"/>
              </a:ext>
            </a:extLst>
          </p:cNvPr>
          <p:cNvSpPr txBox="1"/>
          <p:nvPr/>
        </p:nvSpPr>
        <p:spPr>
          <a:xfrm>
            <a:off x="6757991" y="4089567"/>
            <a:ext cx="18716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now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857327A-C868-CC5E-E910-83CED40437D6}"/>
              </a:ext>
            </a:extLst>
          </p:cNvPr>
          <p:cNvSpPr txBox="1"/>
          <p:nvPr/>
        </p:nvSpPr>
        <p:spPr>
          <a:xfrm>
            <a:off x="9667876" y="4089567"/>
            <a:ext cx="18716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2">
                    <a:lumMod val="75000"/>
                  </a:schemeClr>
                </a:solidFill>
              </a:rPr>
              <a:t>now</a:t>
            </a:r>
          </a:p>
        </p:txBody>
      </p:sp>
    </p:spTree>
    <p:extLst>
      <p:ext uri="{BB962C8B-B14F-4D97-AF65-F5344CB8AC3E}">
        <p14:creationId xmlns:p14="http://schemas.microsoft.com/office/powerpoint/2010/main" val="14795088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1A687D6-29F6-462D-9F89-CE708F9F1F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1A687D6-29F6-462D-9F89-CE708F9F1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4265E80C-67BC-44A3-B313-93D976561D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br>
              <a:rPr lang="nl-NL" sz="3200" dirty="0"/>
            </a:br>
            <a:endParaRPr lang="nl-NL" sz="32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838200" y="1510262"/>
            <a:ext cx="10648168" cy="4800049"/>
          </a:xfrm>
        </p:spPr>
        <p:txBody>
          <a:bodyPr>
            <a:normAutofit/>
          </a:bodyPr>
          <a:lstStyle/>
          <a:p>
            <a:pPr marL="0" indent="0">
              <a:lnSpc>
                <a:spcPct val="105000"/>
              </a:lnSpc>
              <a:spcBef>
                <a:spcPts val="500"/>
              </a:spcBef>
              <a:spcAft>
                <a:spcPts val="500"/>
              </a:spcAft>
              <a:buNone/>
            </a:pPr>
            <a:r>
              <a:rPr lang="en-US" sz="2200" b="1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new implementation delay was announced – at least until November 2025</a:t>
            </a:r>
          </a:p>
          <a:p>
            <a:pPr lvl="1">
              <a:lnSpc>
                <a:spcPct val="105000"/>
              </a:lnSpc>
              <a:spcAft>
                <a:spcPts val="500"/>
              </a:spcAft>
              <a:buFont typeface="Wingdings" pitchFamily="2" charset="2"/>
              <a:buChar char="à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itchFamily="2" charset="2"/>
              </a:rPr>
              <a:t> more time for ACER and the TSOs to quantify the overall economic benefits and drawbacks of LTFBA </a:t>
            </a:r>
            <a:b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itchFamily="2" charset="2"/>
              </a:rPr>
            </a:b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itchFamily="2" charset="2"/>
              </a:rPr>
              <a:t>– calculation vs. allocation </a:t>
            </a:r>
          </a:p>
          <a:p>
            <a:pPr lvl="1">
              <a:lnSpc>
                <a:spcPct val="105000"/>
              </a:lnSpc>
              <a:spcAft>
                <a:spcPts val="500"/>
              </a:spcAft>
              <a:buFont typeface="Wingdings" pitchFamily="2" charset="2"/>
              <a:buChar char="à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ore time for TSOs to plan the implementation of mitigation measures (capacity availability, collateral) </a:t>
            </a:r>
            <a:b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if LTFBA goes live in 2025</a:t>
            </a:r>
          </a:p>
          <a:p>
            <a:pPr lvl="1">
              <a:lnSpc>
                <a:spcPct val="105000"/>
              </a:lnSpc>
              <a:spcAft>
                <a:spcPts val="500"/>
              </a:spcAft>
              <a:buFont typeface="Wingdings" pitchFamily="2" charset="2"/>
              <a:buChar char="à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 realistic </a:t>
            </a:r>
            <a:r>
              <a:rPr lang="en-US" sz="18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an needs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be put forward – we already trade cal25,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l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6, </a:t>
            </a:r>
            <a:r>
              <a:rPr lang="en-US" sz="18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l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7…</a:t>
            </a:r>
          </a:p>
          <a:p>
            <a:pPr marL="457200" lvl="1" indent="0">
              <a:lnSpc>
                <a:spcPct val="105000"/>
              </a:lnSpc>
              <a:spcAft>
                <a:spcPts val="500"/>
              </a:spcAft>
              <a:buNone/>
            </a:pPr>
            <a:endParaRPr lang="en-US" sz="1100" dirty="0">
              <a:solidFill>
                <a:srgbClr val="C0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5000"/>
              </a:lnSpc>
              <a:spcBef>
                <a:spcPts val="500"/>
              </a:spcBef>
              <a:spcAft>
                <a:spcPts val="500"/>
              </a:spcAft>
              <a:buNone/>
            </a:pPr>
            <a:r>
              <a:rPr lang="en-US" sz="2200" b="1" dirty="0">
                <a:solidFill>
                  <a:schemeClr val="accent6">
                    <a:lumMod val="7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European Commission started its overall review of forward markets</a:t>
            </a:r>
            <a:endParaRPr lang="en-US" sz="2200" b="1" dirty="0">
              <a:solidFill>
                <a:schemeClr val="accent6">
                  <a:lumMod val="75000"/>
                </a:schemeClr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5000"/>
              </a:lnSpc>
              <a:spcAft>
                <a:spcPts val="500"/>
              </a:spcAft>
              <a:buFont typeface="Wingdings" pitchFamily="2" charset="2"/>
              <a:buChar char="à"/>
            </a:pPr>
            <a:r>
              <a:rPr lang="en-US" sz="1600" dirty="0">
                <a:latin typeface="Calibri" panose="020F0502020204030204" pitchFamily="34" charset="0"/>
                <a:cs typeface="Times New Roman" panose="02020603050405020304" pitchFamily="18" charset="0"/>
                <a:sym typeface="Wingdings" pitchFamily="2" charset="2"/>
              </a:rPr>
              <a:t> </a:t>
            </a:r>
            <a:r>
              <a:rPr lang="en-US" sz="1800" dirty="0">
                <a:latin typeface="Calibri" panose="020F0502020204030204" pitchFamily="34" charset="0"/>
                <a:cs typeface="Times New Roman" panose="02020603050405020304" pitchFamily="18" charset="0"/>
                <a:sym typeface="Wingdings" pitchFamily="2" charset="2"/>
              </a:rPr>
              <a:t>no targeted question on the relevance or value of LTFBA in the consultation – though clarification in FCA GL may be needed</a:t>
            </a:r>
          </a:p>
          <a:p>
            <a:pPr lvl="1">
              <a:lnSpc>
                <a:spcPct val="105000"/>
              </a:lnSpc>
              <a:spcAft>
                <a:spcPts val="500"/>
              </a:spcAft>
              <a:buFont typeface="Wingdings" pitchFamily="2" charset="2"/>
              <a:buChar char="à"/>
            </a:pPr>
            <a:r>
              <a:rPr lang="en-US" sz="1800" dirty="0">
                <a:latin typeface="Calibri" panose="020F0502020204030204" pitchFamily="34" charset="0"/>
                <a:cs typeface="Times New Roman" panose="02020603050405020304" pitchFamily="18" charset="0"/>
                <a:sym typeface="Wingdings" pitchFamily="2" charset="2"/>
              </a:rPr>
              <a:t> we still expect the impact assessment to include an LFTBA analysis to see its compatibility with other reforms (e.g. multi-year LTTRs)</a:t>
            </a:r>
            <a:endParaRPr lang="en-US" sz="1800" dirty="0"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C61F789-2378-40C5-87A9-9C53817543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8200" y="6310312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B46A78-6AF9-412C-AE9C-E98B1C607C25}" type="slidenum">
              <a:rPr kumimoji="0" lang="es-ES" sz="18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F339A3D-31F7-C1FB-C8A9-4E2CCF810BC3}"/>
              </a:ext>
            </a:extLst>
          </p:cNvPr>
          <p:cNvSpPr txBox="1">
            <a:spLocks/>
          </p:cNvSpPr>
          <p:nvPr/>
        </p:nvSpPr>
        <p:spPr>
          <a:xfrm>
            <a:off x="466509" y="202019"/>
            <a:ext cx="11258982" cy="13082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GB" sz="3500" b="1" dirty="0">
                <a:solidFill>
                  <a:srgbClr val="0000FF"/>
                </a:solidFill>
                <a:latin typeface="Qanelas" panose="00000500000000000000" pitchFamily="50" charset="0"/>
                <a:ea typeface="+mj-ea"/>
                <a:cs typeface="+mj-cs"/>
              </a:rPr>
              <a:t>Where are we 6 months later? What can be done now?</a:t>
            </a:r>
            <a:endParaRPr lang="en-GB" sz="3200" b="1" dirty="0">
              <a:solidFill>
                <a:srgbClr val="00B0F0"/>
              </a:solidFill>
              <a:latin typeface="Qanelas" panose="00000500000000000000" pitchFamily="50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880277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c135c4ba-2280-41f8-be7d-6f21d368baa3}" enabled="1" method="Standard" siteId="{24139d14-c62c-4c47-8bdd-ce71ea1d50cf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83</TotalTime>
  <Words>427</Words>
  <Application>Microsoft Macintosh PowerPoint</Application>
  <PresentationFormat>Widescreen</PresentationFormat>
  <Paragraphs>53</Paragraphs>
  <Slides>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libri</vt:lpstr>
      <vt:lpstr>Calibri Light</vt:lpstr>
      <vt:lpstr>Qanelas</vt:lpstr>
      <vt:lpstr>Wingdings</vt:lpstr>
      <vt:lpstr>Thème Office</vt:lpstr>
      <vt:lpstr>think-cell Slide</vt:lpstr>
      <vt:lpstr>The way forward for the allocation of LTTRs  – reflections from the market  MESC – 8 October 2024</vt:lpstr>
      <vt:lpstr> </vt:lpstr>
      <vt:lpstr> </vt:lpstr>
      <vt:lpstr> </vt:lpstr>
    </vt:vector>
  </TitlesOfParts>
  <Company>ED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</dc:title>
  <dc:creator>BOUSSETTA Selim</dc:creator>
  <cp:lastModifiedBy>Jerome Le Page</cp:lastModifiedBy>
  <cp:revision>32</cp:revision>
  <dcterms:created xsi:type="dcterms:W3CDTF">2024-02-15T16:18:20Z</dcterms:created>
  <dcterms:modified xsi:type="dcterms:W3CDTF">2024-09-24T12:4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d26f538-337a-4593-a7e6-123667b1a538_Enabled">
    <vt:lpwstr>true</vt:lpwstr>
  </property>
  <property fmtid="{D5CDD505-2E9C-101B-9397-08002B2CF9AE}" pid="3" name="MSIP_Label_2d26f538-337a-4593-a7e6-123667b1a538_SetDate">
    <vt:lpwstr>2024-02-15T16:18:21Z</vt:lpwstr>
  </property>
  <property fmtid="{D5CDD505-2E9C-101B-9397-08002B2CF9AE}" pid="4" name="MSIP_Label_2d26f538-337a-4593-a7e6-123667b1a538_Method">
    <vt:lpwstr>Standard</vt:lpwstr>
  </property>
  <property fmtid="{D5CDD505-2E9C-101B-9397-08002B2CF9AE}" pid="5" name="MSIP_Label_2d26f538-337a-4593-a7e6-123667b1a538_Name">
    <vt:lpwstr>C1 Interne</vt:lpwstr>
  </property>
  <property fmtid="{D5CDD505-2E9C-101B-9397-08002B2CF9AE}" pid="6" name="MSIP_Label_2d26f538-337a-4593-a7e6-123667b1a538_SiteId">
    <vt:lpwstr>e242425b-70fc-44dc-9ddf-c21e304e6c80</vt:lpwstr>
  </property>
  <property fmtid="{D5CDD505-2E9C-101B-9397-08002B2CF9AE}" pid="7" name="MSIP_Label_2d26f538-337a-4593-a7e6-123667b1a538_ActionId">
    <vt:lpwstr>e67e8cc6-8475-4ca8-bff9-84b44ce6bc7e</vt:lpwstr>
  </property>
  <property fmtid="{D5CDD505-2E9C-101B-9397-08002B2CF9AE}" pid="8" name="MSIP_Label_2d26f538-337a-4593-a7e6-123667b1a538_ContentBits">
    <vt:lpwstr>0</vt:lpwstr>
  </property>
</Properties>
</file>